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</p:sldMasterIdLst>
  <p:notesMasterIdLst>
    <p:notesMasterId r:id="rId25"/>
  </p:notesMasterIdLst>
  <p:sldIdLst>
    <p:sldId id="271" r:id="rId3"/>
    <p:sldId id="277" r:id="rId4"/>
    <p:sldId id="272" r:id="rId5"/>
    <p:sldId id="285" r:id="rId6"/>
    <p:sldId id="286" r:id="rId7"/>
    <p:sldId id="287" r:id="rId8"/>
    <p:sldId id="288" r:id="rId9"/>
    <p:sldId id="289" r:id="rId10"/>
    <p:sldId id="290" r:id="rId11"/>
    <p:sldId id="291" r:id="rId12"/>
    <p:sldId id="293" r:id="rId13"/>
    <p:sldId id="292" r:id="rId14"/>
    <p:sldId id="294" r:id="rId15"/>
    <p:sldId id="295" r:id="rId16"/>
    <p:sldId id="296" r:id="rId17"/>
    <p:sldId id="301" r:id="rId18"/>
    <p:sldId id="303" r:id="rId19"/>
    <p:sldId id="302" r:id="rId20"/>
    <p:sldId id="275" r:id="rId21"/>
    <p:sldId id="298" r:id="rId22"/>
    <p:sldId id="297" r:id="rId23"/>
    <p:sldId id="270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F50"/>
    <a:srgbClr val="2C3E4F"/>
    <a:srgbClr val="3D3633"/>
    <a:srgbClr val="F8B200"/>
    <a:srgbClr val="E09E28"/>
    <a:srgbClr val="EBC175"/>
    <a:srgbClr val="A6A6A6"/>
    <a:srgbClr val="F3F4F2"/>
    <a:srgbClr val="E2E4E0"/>
    <a:srgbClr val="D1D4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4" autoAdjust="0"/>
    <p:restoredTop sz="94660"/>
  </p:normalViewPr>
  <p:slideViewPr>
    <p:cSldViewPr snapToGrid="0">
      <p:cViewPr varScale="1">
        <p:scale>
          <a:sx n="72" d="100"/>
          <a:sy n="72" d="100"/>
        </p:scale>
        <p:origin x="3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AB2F81-73CD-4359-9A1D-432023AEAD39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D8D77E-C927-4AE4-9185-245E1A2E25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28066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571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21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891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scheduler_tick</a:t>
            </a:r>
            <a:r>
              <a:rPr lang="en-US" altLang="zh-CN" dirty="0"/>
              <a:t>,</a:t>
            </a:r>
            <a:r>
              <a:rPr lang="en-US" altLang="zh-CN" baseline="0" dirty="0"/>
              <a:t>  </a:t>
            </a:r>
            <a:r>
              <a:rPr lang="en-US" altLang="zh-CN" baseline="0" dirty="0" err="1"/>
              <a:t>enqueue_task</a:t>
            </a:r>
            <a:r>
              <a:rPr lang="en-US" altLang="zh-CN" baseline="0" dirty="0"/>
              <a:t>, </a:t>
            </a:r>
            <a:r>
              <a:rPr lang="en-US" altLang="zh-CN" baseline="0" dirty="0" err="1"/>
              <a:t>dequeue_task</a:t>
            </a:r>
            <a:r>
              <a:rPr lang="en-US" altLang="zh-CN" baseline="0" dirty="0"/>
              <a:t>;</a:t>
            </a:r>
          </a:p>
          <a:p>
            <a:endParaRPr lang="en-US" altLang="zh-CN" baseline="0" dirty="0"/>
          </a:p>
          <a:p>
            <a:r>
              <a:rPr lang="en-US" altLang="zh-CN" dirty="0"/>
              <a:t>1</a:t>
            </a:r>
            <a:r>
              <a:rPr lang="zh-CN" altLang="en-US" dirty="0"/>
              <a:t>、 对应数据：</a:t>
            </a:r>
            <a:r>
              <a:rPr lang="en-US" altLang="zh-CN" dirty="0" err="1"/>
              <a:t>cpu_id</a:t>
            </a:r>
            <a:r>
              <a:rPr lang="en-US" altLang="zh-CN" dirty="0"/>
              <a:t>,</a:t>
            </a:r>
            <a:r>
              <a:rPr lang="en-US" altLang="zh-CN" baseline="0" dirty="0"/>
              <a:t> 1000hz  mapper</a:t>
            </a:r>
          </a:p>
          <a:p>
            <a:r>
              <a:rPr lang="en-US" altLang="zh-CN" baseline="0" dirty="0"/>
              <a:t>2</a:t>
            </a:r>
            <a:r>
              <a:rPr lang="zh-CN" altLang="en-US" baseline="0" dirty="0"/>
              <a:t>、 触发的时机：通知机制</a:t>
            </a:r>
            <a:r>
              <a:rPr lang="en-US" altLang="zh-CN" baseline="0" dirty="0"/>
              <a:t>, tick, </a:t>
            </a:r>
            <a:r>
              <a:rPr lang="zh-CN" altLang="en-US" baseline="0" dirty="0"/>
              <a:t>定时器；</a:t>
            </a:r>
            <a:endParaRPr lang="zh-CN" altLang="en-US" dirty="0"/>
          </a:p>
          <a:p>
            <a:r>
              <a:rPr lang="en-US" altLang="zh-CN" baseline="0" dirty="0"/>
              <a:t>3</a:t>
            </a:r>
            <a:r>
              <a:rPr lang="zh-CN" altLang="en-US" baseline="0" dirty="0"/>
              <a:t>、</a:t>
            </a:r>
            <a:r>
              <a:rPr lang="en-US" altLang="zh-CN" baseline="0" dirty="0" err="1"/>
              <a:t>hotplug</a:t>
            </a:r>
            <a:r>
              <a:rPr lang="en-US" altLang="zh-CN" baseline="0" dirty="0"/>
              <a:t>, isolate,  </a:t>
            </a:r>
            <a:r>
              <a:rPr lang="en-US" altLang="zh-CN" baseline="0" dirty="0" err="1"/>
              <a:t>themal</a:t>
            </a:r>
            <a:r>
              <a:rPr lang="zh-CN" altLang="en-US" baseline="0" dirty="0"/>
              <a:t>限频</a:t>
            </a:r>
            <a:endParaRPr lang="en-US" altLang="zh-CN" baseline="0" dirty="0"/>
          </a:p>
          <a:p>
            <a:r>
              <a:rPr lang="en-US" altLang="zh-CN" baseline="0" dirty="0"/>
              <a:t>4</a:t>
            </a:r>
            <a:r>
              <a:rPr lang="zh-CN" altLang="en-US" baseline="0" dirty="0"/>
              <a:t>、</a:t>
            </a:r>
            <a:r>
              <a:rPr lang="en-US" altLang="zh-CN" baseline="0" dirty="0"/>
              <a:t>schedule()</a:t>
            </a:r>
            <a:r>
              <a:rPr lang="zh-CN" altLang="en-US" baseline="0" dirty="0"/>
              <a:t>方法</a:t>
            </a:r>
            <a:endParaRPr lang="en-US" altLang="zh-CN" baseline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01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www.ebpftravel.com/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9.svg"/><Relationship Id="rId7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png"/><Relationship Id="rId11" Type="http://schemas.openxmlformats.org/officeDocument/2006/relationships/image" Target="../media/image16.svg"/><Relationship Id="rId5" Type="http://schemas.openxmlformats.org/officeDocument/2006/relationships/image" Target="../media/image11.sv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14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9.svg"/><Relationship Id="rId7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16.svg"/><Relationship Id="rId5" Type="http://schemas.openxmlformats.org/officeDocument/2006/relationships/image" Target="../media/image11.sv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14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www.ebpftravel.com/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>
            <a:extLst>
              <a:ext uri="{FF2B5EF4-FFF2-40B4-BE49-F238E27FC236}">
                <a16:creationId xmlns="" xmlns:a16="http://schemas.microsoft.com/office/drawing/2014/main" id="{48053498-09C9-A754-FE2E-9CD9DA43F0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098" y="1340230"/>
            <a:ext cx="9194053" cy="380730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1" i="0"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2CE24-4B9A-4FC6-8BD2-43C06B17E144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78271F-3D77-4A4A-A647-154385353537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="" xmlns:a16="http://schemas.microsoft.com/office/drawing/2014/main" id="{AE00E05E-8F1B-EFB4-0723-E0751FE9B7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293102" y="184729"/>
            <a:ext cx="4673600" cy="1447675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="" xmlns:a16="http://schemas.microsoft.com/office/drawing/2014/main" id="{A3B20918-E68B-AFA0-CADD-2D0105BCFBE9}"/>
              </a:ext>
            </a:extLst>
          </p:cNvPr>
          <p:cNvSpPr txBox="1"/>
          <p:nvPr userDrawn="1"/>
        </p:nvSpPr>
        <p:spPr>
          <a:xfrm>
            <a:off x="9209312" y="602598"/>
            <a:ext cx="290182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i="0" u="none" strike="noStrike" kern="1500" spc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思源宋体 CN Heavy" panose="02020900000000000000" pitchFamily="18" charset="-122"/>
                <a:ea typeface="思源宋体 CN Heavy" panose="02020900000000000000" pitchFamily="18" charset="-122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ebpftravel.com</a:t>
            </a:r>
            <a:endParaRPr lang="en-US" altLang="zh-CN" i="0" kern="1500" spc="1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="" xmlns:a16="http://schemas.microsoft.com/office/drawing/2014/main" id="{B482A387-F76F-E25E-C336-2C0A47173D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0477" y="5549222"/>
            <a:ext cx="9194053" cy="1618513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="" xmlns:a16="http://schemas.microsoft.com/office/drawing/2014/main" id="{111FF831-E022-B813-ED9E-70334C16BD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038" y="642782"/>
            <a:ext cx="3687062" cy="2872479"/>
          </a:xfrm>
          <a:prstGeom prst="rect">
            <a:avLst/>
          </a:prstGeom>
        </p:spPr>
      </p:pic>
      <p:pic>
        <p:nvPicPr>
          <p:cNvPr id="22" name="图形 21">
            <a:extLst>
              <a:ext uri="{FF2B5EF4-FFF2-40B4-BE49-F238E27FC236}">
                <a16:creationId xmlns="" xmlns:a16="http://schemas.microsoft.com/office/drawing/2014/main" id="{A4047D2A-6D7C-939D-C338-99378B3B26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3698" y="5065399"/>
            <a:ext cx="1409700" cy="1162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="" xmlns:a16="http://schemas.microsoft.com/office/drawing/2014/main" id="{C35AC1C9-F667-6625-EF17-FCAAB1CD4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="" xmlns:a16="http://schemas.microsoft.com/office/drawing/2014/main" id="{F73DE092-A747-ECEF-DAA7-2D35B13E4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="" xmlns:a16="http://schemas.microsoft.com/office/drawing/2014/main" id="{C1AF2DFC-0CA6-F724-D586-CA7DED8A9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19923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B445C71E-3F70-542D-1012-68D079D13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990437BA-6EAB-0806-49E9-5B4982786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6D315DA2-61B1-CBB1-DD9A-88A8ED9BEB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14CE3127-6C65-D0F0-5CD7-BAE39A0642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DEB35CB9-01A8-CD93-A076-A7FB16234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EF339E70-9196-9602-E888-09F4832D4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77567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534F6FD8-BBFE-17CA-FC4C-D9611400F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="" xmlns:a16="http://schemas.microsoft.com/office/drawing/2014/main" id="{EB1567BC-496E-8BFF-3EEC-50E36AB75D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BAA074B6-69CE-2C54-1F8E-450151A2B8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07301FBE-7065-6D2C-1C22-86EB7DC70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17D700A0-E271-DFD0-BE13-74C967658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22BE7197-5AFB-DE98-250C-4BA928F14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0411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7B2D6D99-9446-EF52-D99B-63EBCDDE4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="" xmlns:a16="http://schemas.microsoft.com/office/drawing/2014/main" id="{E8365574-1F31-3B32-FCCA-59C61D0B1F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022E45FF-1421-6E8C-C855-F84AEE1CC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77A36D8E-19EB-0ECE-CED9-638376074E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EAC22D9A-F682-C03B-86A5-8A4E9749C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25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="" xmlns:a16="http://schemas.microsoft.com/office/drawing/2014/main" id="{348C2000-6C56-9586-E85D-4758F26CCC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="" xmlns:a16="http://schemas.microsoft.com/office/drawing/2014/main" id="{CA3C56F7-7410-FE74-59CD-35822A1EF0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A96A0D99-E832-A97D-0A87-45CC84D3F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C8C7DB38-E7D7-EBC4-24A7-EDB34AE87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BB07DD4F-C29D-9D2E-737B-946B68B0D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206216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20" y="2123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2123"/>
                        <a:ext cx="2115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3989" y="284388"/>
            <a:ext cx="10896544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lang="en-US" sz="3193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165" indent="0" algn="ctr">
              <a:buNone/>
              <a:defRPr sz="2595"/>
            </a:lvl2pPr>
            <a:lvl3pPr marL="1186325" indent="0" algn="ctr">
              <a:buNone/>
              <a:defRPr sz="2335"/>
            </a:lvl3pPr>
            <a:lvl4pPr marL="1779492" indent="0" algn="ctr">
              <a:buNone/>
              <a:defRPr sz="2076"/>
            </a:lvl4pPr>
            <a:lvl5pPr marL="2372653" indent="0" algn="ctr">
              <a:buNone/>
              <a:defRPr sz="2076"/>
            </a:lvl5pPr>
            <a:lvl6pPr marL="2965817" indent="0" algn="ctr">
              <a:buNone/>
              <a:defRPr sz="2076"/>
            </a:lvl6pPr>
            <a:lvl7pPr marL="3558980" indent="0" algn="ctr">
              <a:buNone/>
              <a:defRPr sz="2076"/>
            </a:lvl7pPr>
            <a:lvl8pPr marL="4152144" indent="0" algn="ctr">
              <a:buNone/>
              <a:defRPr sz="2076"/>
            </a:lvl8pPr>
            <a:lvl9pPr marL="4745306" indent="0" algn="ctr">
              <a:buNone/>
              <a:defRPr sz="2076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57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形 15">
            <a:extLst>
              <a:ext uri="{FF2B5EF4-FFF2-40B4-BE49-F238E27FC236}">
                <a16:creationId xmlns="" xmlns:a16="http://schemas.microsoft.com/office/drawing/2014/main" id="{E04E0697-BC86-A726-14AC-1393BE7ED0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4786" y="3681624"/>
            <a:ext cx="8202279" cy="2447089"/>
          </a:xfrm>
          <a:prstGeom prst="rect">
            <a:avLst/>
          </a:prstGeom>
        </p:spPr>
      </p:pic>
      <p:pic>
        <p:nvPicPr>
          <p:cNvPr id="12" name="图形 11">
            <a:extLst>
              <a:ext uri="{FF2B5EF4-FFF2-40B4-BE49-F238E27FC236}">
                <a16:creationId xmlns="" xmlns:a16="http://schemas.microsoft.com/office/drawing/2014/main" id="{DFDE574B-A382-1527-0B0B-F55F741935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311" y="4236290"/>
            <a:ext cx="8048625" cy="206692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77886" y="1709738"/>
            <a:ext cx="8669564" cy="1780133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3514501"/>
            <a:ext cx="10515600" cy="1500187"/>
          </a:xfrm>
        </p:spPr>
        <p:txBody>
          <a:bodyPr/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2CE24-4B9A-4FC6-8BD2-43C06B17E144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78271F-3D77-4A4A-A647-154385353537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3196AEFB-B3DC-E501-1695-C82D9F6CFE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092200" y="262063"/>
            <a:ext cx="4673600" cy="144767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29C87D33-11FD-9690-F77E-7B36B85580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05441" y="301"/>
            <a:ext cx="3771624" cy="1280275"/>
          </a:xfrm>
          <a:prstGeom prst="rect">
            <a:avLst/>
          </a:prstGeom>
        </p:spPr>
      </p:pic>
      <p:pic>
        <p:nvPicPr>
          <p:cNvPr id="7" name="图形 6">
            <a:extLst>
              <a:ext uri="{FF2B5EF4-FFF2-40B4-BE49-F238E27FC236}">
                <a16:creationId xmlns="" xmlns:a16="http://schemas.microsoft.com/office/drawing/2014/main" id="{85F21AE5-8DBD-0A82-0F94-6F4F15AA8E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2975" y="1982780"/>
            <a:ext cx="1266825" cy="1266825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="" xmlns:a16="http://schemas.microsoft.com/office/drawing/2014/main" id="{A0BFCDFC-383D-90BE-8FBB-2374A8E043F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68658" y="6432668"/>
            <a:ext cx="5934075" cy="361950"/>
          </a:xfrm>
          <a:prstGeom prst="rect">
            <a:avLst/>
          </a:prstGeom>
        </p:spPr>
      </p:pic>
      <p:pic>
        <p:nvPicPr>
          <p:cNvPr id="14" name="图形 13">
            <a:extLst>
              <a:ext uri="{FF2B5EF4-FFF2-40B4-BE49-F238E27FC236}">
                <a16:creationId xmlns="" xmlns:a16="http://schemas.microsoft.com/office/drawing/2014/main" id="{5BDB4763-4BEC-EBAF-E138-2460C6410C6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22769">
            <a:off x="406526" y="6432668"/>
            <a:ext cx="5934075" cy="361950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="" xmlns:a16="http://schemas.microsoft.com/office/drawing/2014/main" id="{EAD1B1F8-8628-8E61-F531-268A632C2E9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1374760">
            <a:off x="5930798" y="6405919"/>
            <a:ext cx="5934075" cy="361950"/>
          </a:xfrm>
          <a:prstGeom prst="rect">
            <a:avLst/>
          </a:prstGeom>
        </p:spPr>
      </p:pic>
      <p:sp>
        <p:nvSpPr>
          <p:cNvPr id="21" name="文本占位符 20">
            <a:extLst>
              <a:ext uri="{FF2B5EF4-FFF2-40B4-BE49-F238E27FC236}">
                <a16:creationId xmlns="" xmlns:a16="http://schemas.microsoft.com/office/drawing/2014/main" id="{8B9D3C4D-3240-1F36-8E41-EE7FBD6C3B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3950" y="2246313"/>
            <a:ext cx="900113" cy="771525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37736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6314" y="334735"/>
            <a:ext cx="11318421" cy="653143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46315" y="1790587"/>
            <a:ext cx="11318420" cy="4351338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副标题 2"/>
          <p:cNvSpPr>
            <a:spLocks noGrp="1"/>
          </p:cNvSpPr>
          <p:nvPr>
            <p:ph type="subTitle" idx="13"/>
          </p:nvPr>
        </p:nvSpPr>
        <p:spPr>
          <a:xfrm>
            <a:off x="446315" y="948103"/>
            <a:ext cx="11318420" cy="50233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730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形 15">
            <a:extLst>
              <a:ext uri="{FF2B5EF4-FFF2-40B4-BE49-F238E27FC236}">
                <a16:creationId xmlns="" xmlns:a16="http://schemas.microsoft.com/office/drawing/2014/main" id="{E04E0697-BC86-A726-14AC-1393BE7ED0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74786" y="3681624"/>
            <a:ext cx="8202279" cy="2447089"/>
          </a:xfrm>
          <a:prstGeom prst="rect">
            <a:avLst/>
          </a:prstGeom>
        </p:spPr>
      </p:pic>
      <p:pic>
        <p:nvPicPr>
          <p:cNvPr id="12" name="图形 11">
            <a:extLst>
              <a:ext uri="{FF2B5EF4-FFF2-40B4-BE49-F238E27FC236}">
                <a16:creationId xmlns="" xmlns:a16="http://schemas.microsoft.com/office/drawing/2014/main" id="{DFDE574B-A382-1527-0B0B-F55F741935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311" y="4236290"/>
            <a:ext cx="8048625" cy="206692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77886" y="1709738"/>
            <a:ext cx="8669564" cy="1780133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3514501"/>
            <a:ext cx="10515600" cy="1500187"/>
          </a:xfrm>
        </p:spPr>
        <p:txBody>
          <a:bodyPr/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2CE24-4B9A-4FC6-8BD2-43C06B17E144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78271F-3D77-4A4A-A647-154385353537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3196AEFB-B3DC-E501-1695-C82D9F6CFE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092200" y="262063"/>
            <a:ext cx="4673600" cy="144767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29C87D33-11FD-9690-F77E-7B36B85580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05441" y="301"/>
            <a:ext cx="3771624" cy="1280275"/>
          </a:xfrm>
          <a:prstGeom prst="rect">
            <a:avLst/>
          </a:prstGeom>
        </p:spPr>
      </p:pic>
      <p:pic>
        <p:nvPicPr>
          <p:cNvPr id="7" name="图形 6">
            <a:extLst>
              <a:ext uri="{FF2B5EF4-FFF2-40B4-BE49-F238E27FC236}">
                <a16:creationId xmlns="" xmlns:a16="http://schemas.microsoft.com/office/drawing/2014/main" id="{85F21AE5-8DBD-0A82-0F94-6F4F15AA8E1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2975" y="1982780"/>
            <a:ext cx="1266825" cy="1266825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="" xmlns:a16="http://schemas.microsoft.com/office/drawing/2014/main" id="{A0BFCDFC-383D-90BE-8FBB-2374A8E043F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68658" y="6432668"/>
            <a:ext cx="5934075" cy="361950"/>
          </a:xfrm>
          <a:prstGeom prst="rect">
            <a:avLst/>
          </a:prstGeom>
        </p:spPr>
      </p:pic>
      <p:pic>
        <p:nvPicPr>
          <p:cNvPr id="14" name="图形 13">
            <a:extLst>
              <a:ext uri="{FF2B5EF4-FFF2-40B4-BE49-F238E27FC236}">
                <a16:creationId xmlns="" xmlns:a16="http://schemas.microsoft.com/office/drawing/2014/main" id="{5BDB4763-4BEC-EBAF-E138-2460C6410C6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22769">
            <a:off x="406526" y="6432668"/>
            <a:ext cx="5934075" cy="361950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="" xmlns:a16="http://schemas.microsoft.com/office/drawing/2014/main" id="{EAD1B1F8-8628-8E61-F531-268A632C2E9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1374760">
            <a:off x="5930798" y="6405919"/>
            <a:ext cx="5934075" cy="361950"/>
          </a:xfrm>
          <a:prstGeom prst="rect">
            <a:avLst/>
          </a:prstGeom>
        </p:spPr>
      </p:pic>
      <p:sp>
        <p:nvSpPr>
          <p:cNvPr id="21" name="文本占位符 20">
            <a:extLst>
              <a:ext uri="{FF2B5EF4-FFF2-40B4-BE49-F238E27FC236}">
                <a16:creationId xmlns="" xmlns:a16="http://schemas.microsoft.com/office/drawing/2014/main" id="{8B9D3C4D-3240-1F36-8E41-EE7FBD6C3B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3950" y="2246313"/>
            <a:ext cx="900113" cy="771525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</a:defRPr>
            </a:lvl1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致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2CE24-4B9A-4FC6-8BD2-43C06B17E144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78271F-3D77-4A4A-A647-154385353537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7" name="图片 16">
            <a:extLst>
              <a:ext uri="{FF2B5EF4-FFF2-40B4-BE49-F238E27FC236}">
                <a16:creationId xmlns="" xmlns:a16="http://schemas.microsoft.com/office/drawing/2014/main" id="{BE58DE18-F0FA-9BBA-BFED-5C2089F457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098" y="1340230"/>
            <a:ext cx="9194053" cy="3807302"/>
          </a:xfrm>
          <a:prstGeom prst="rect">
            <a:avLst/>
          </a:prstGeom>
        </p:spPr>
      </p:pic>
      <p:sp>
        <p:nvSpPr>
          <p:cNvPr id="18" name="标题 1">
            <a:extLst>
              <a:ext uri="{FF2B5EF4-FFF2-40B4-BE49-F238E27FC236}">
                <a16:creationId xmlns="" xmlns:a16="http://schemas.microsoft.com/office/drawing/2014/main" id="{3DCEC684-D1ED-7429-5D16-D7FB054FF536}"/>
              </a:ext>
            </a:extLst>
          </p:cNvPr>
          <p:cNvSpPr txBox="1">
            <a:spLocks/>
          </p:cNvSpPr>
          <p:nvPr userDrawn="1"/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YouSheBiaoTiYuan" pitchFamily="2" charset="-122"/>
                <a:ea typeface="YouSheBiaoTiYuan" pitchFamily="2" charset="-122"/>
                <a:cs typeface="+mj-cs"/>
              </a:defRPr>
            </a:lvl1pPr>
          </a:lstStyle>
          <a:p>
            <a:r>
              <a:rPr lang="en-US" altLang="zh-CN" dirty="0">
                <a:solidFill>
                  <a:schemeClr val="tx2">
                    <a:lumMod val="75000"/>
                  </a:schemeClr>
                </a:solidFill>
              </a:rPr>
              <a:t>Thanks~!</a:t>
            </a:r>
            <a:endParaRPr lang="zh-CN" alt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0" name="日期占位符 3">
            <a:extLst>
              <a:ext uri="{FF2B5EF4-FFF2-40B4-BE49-F238E27FC236}">
                <a16:creationId xmlns="" xmlns:a16="http://schemas.microsoft.com/office/drawing/2014/main" id="{4E775E4E-4C1E-592B-0930-227A86EAA3B1}"/>
              </a:ext>
            </a:extLst>
          </p:cNvPr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62CE24-4B9A-4FC6-8BD2-43C06B17E144}" type="datetimeFigureOut">
              <a:rPr lang="zh-CN" altLang="en-US" smtClean="0"/>
              <a:pPr/>
              <a:t>2022/11/12</a:t>
            </a:fld>
            <a:endParaRPr lang="zh-CN" altLang="en-US"/>
          </a:p>
        </p:txBody>
      </p:sp>
      <p:sp>
        <p:nvSpPr>
          <p:cNvPr id="21" name="灯片编号占位符 5">
            <a:extLst>
              <a:ext uri="{FF2B5EF4-FFF2-40B4-BE49-F238E27FC236}">
                <a16:creationId xmlns="" xmlns:a16="http://schemas.microsoft.com/office/drawing/2014/main" id="{64CCEAD3-BF33-FD61-E441-15A36A1A434C}"/>
              </a:ext>
            </a:extLst>
          </p:cNvPr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78271F-3D77-4A4A-A647-15438535353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22" name="图片 21">
            <a:extLst>
              <a:ext uri="{FF2B5EF4-FFF2-40B4-BE49-F238E27FC236}">
                <a16:creationId xmlns="" xmlns:a16="http://schemas.microsoft.com/office/drawing/2014/main" id="{DE6B9302-3F22-C480-4CFC-6B341B8728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293102" y="184729"/>
            <a:ext cx="4673600" cy="1447675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56A3F12B-5723-87A7-2EB7-1F64ABC66C67}"/>
              </a:ext>
            </a:extLst>
          </p:cNvPr>
          <p:cNvSpPr txBox="1"/>
          <p:nvPr userDrawn="1"/>
        </p:nvSpPr>
        <p:spPr>
          <a:xfrm>
            <a:off x="9209312" y="602598"/>
            <a:ext cx="290182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i="0" u="none" strike="noStrike" kern="1500" spc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思源宋体 CN Heavy" panose="02020900000000000000" pitchFamily="18" charset="-122"/>
                <a:ea typeface="思源宋体 CN Heavy" panose="02020900000000000000" pitchFamily="18" charset="-122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ebpftravel.com</a:t>
            </a:r>
            <a:endParaRPr lang="en-US" altLang="zh-CN" i="0" kern="1500" spc="1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pic>
        <p:nvPicPr>
          <p:cNvPr id="24" name="图片 23">
            <a:extLst>
              <a:ext uri="{FF2B5EF4-FFF2-40B4-BE49-F238E27FC236}">
                <a16:creationId xmlns="" xmlns:a16="http://schemas.microsoft.com/office/drawing/2014/main" id="{40119909-6E90-436C-5849-BBC4D8A440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0477" y="5549222"/>
            <a:ext cx="9194053" cy="1618513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="" xmlns:a16="http://schemas.microsoft.com/office/drawing/2014/main" id="{F46F1F44-FFA7-0C8C-3FA1-0F2EBD443D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038" y="642782"/>
            <a:ext cx="3687062" cy="2872479"/>
          </a:xfrm>
          <a:prstGeom prst="rect">
            <a:avLst/>
          </a:prstGeom>
        </p:spPr>
      </p:pic>
      <p:pic>
        <p:nvPicPr>
          <p:cNvPr id="26" name="图形 25">
            <a:extLst>
              <a:ext uri="{FF2B5EF4-FFF2-40B4-BE49-F238E27FC236}">
                <a16:creationId xmlns="" xmlns:a16="http://schemas.microsoft.com/office/drawing/2014/main" id="{C995B5BB-B7CD-4B98-B4BD-0AC60294C3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3698" y="5065399"/>
            <a:ext cx="1409700" cy="1162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AE148-98A5-4A6A-B502-16C030873BA5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2/11/12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F579DB2-655A-42F2-AB5A-3B73022179A0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27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34433" y="1151992"/>
            <a:ext cx="11523134" cy="4869295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836588" indent="-321608">
              <a:buFont typeface="Wingdings" panose="05000000000000000000" pitchFamily="2" charset="2"/>
              <a:buChar char="Ø"/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86431" indent="-258508">
              <a:buFont typeface="Wingdings" panose="05000000000000000000" pitchFamily="2" charset="2"/>
              <a:buChar char="q"/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112224" y="6399616"/>
            <a:ext cx="1358921" cy="3230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zh-CN" dirty="0">
                <a:solidFill>
                  <a:srgbClr val="000000"/>
                </a:solidFill>
              </a:rPr>
              <a:t>Page </a:t>
            </a:r>
            <a:fld id="{C6507056-04BF-4A77-8B06-6F093F130C42}" type="slidenum">
              <a:rPr lang="de-DE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zh-C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467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016E37D2-6224-4CC3-0E77-4604BBE2A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7DC584EC-B9E3-3465-339F-D0F80B3B7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07A3E99A-E796-35D5-EBD9-E01D265CE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67D3EEE5-57FE-8A76-9D7A-D483D9502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D263543D-340C-12BE-715F-163079B65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93074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D437F4FD-71DE-3539-0737-1C5B0EAEC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="" xmlns:a16="http://schemas.microsoft.com/office/drawing/2014/main" id="{EA780855-9D0B-70EF-528D-C230AD642E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F2EBE515-ACAD-AC3B-46FC-519837C534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="" xmlns:a16="http://schemas.microsoft.com/office/drawing/2014/main" id="{7395E660-A40D-742C-A133-CB9757443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="" xmlns:a16="http://schemas.microsoft.com/office/drawing/2014/main" id="{08313AD5-BC27-5077-C572-101E165B0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="" xmlns:a16="http://schemas.microsoft.com/office/drawing/2014/main" id="{D7C5E8CE-4EB7-BF4F-5D36-E8EE13C01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01774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F014AF94-F806-2046-1A92-92F438742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48B3DA03-1B81-888D-C7F7-6B844EFF39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41F8398D-68F6-2A60-2DB4-E8E705EFA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="" xmlns:a16="http://schemas.microsoft.com/office/drawing/2014/main" id="{32EBFEB7-C0E3-53AB-B32C-0853D6739A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="" xmlns:a16="http://schemas.microsoft.com/office/drawing/2014/main" id="{7257373E-BF15-D86A-9339-1CA147E985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="" xmlns:a16="http://schemas.microsoft.com/office/drawing/2014/main" id="{DD47EB9D-5D10-1EDE-3913-7ADACA4F1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="" xmlns:a16="http://schemas.microsoft.com/office/drawing/2014/main" id="{AA9D6694-24BF-3909-3343-0E924235C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="" xmlns:a16="http://schemas.microsoft.com/office/drawing/2014/main" id="{E47C7CB0-2070-0EBF-E62B-FC86C8391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5893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FDB19B4-3FF6-9154-E5E6-DDF30631C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08B8E9A-7DAC-8521-A7BB-87C3F0F7F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A7B81D3A-46C2-0D73-5EB3-2DE41AB71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E4700FCD-B06D-7296-BA0D-7F37D985E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81888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ebpftravel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26" Type="http://schemas.openxmlformats.org/officeDocument/2006/relationships/hyperlink" Target="https://www.ebpftravel.com/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20.svg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18.svg"/><Relationship Id="rId25" Type="http://schemas.openxmlformats.org/officeDocument/2006/relationships/image" Target="../media/image24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2.pn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15.pn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.png"/><Relationship Id="rId23" Type="http://schemas.openxmlformats.org/officeDocument/2006/relationships/image" Target="../media/image22.svg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3.png"/><Relationship Id="rId22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62CE24-4B9A-4FC6-8BD2-43C06B17E144}" type="datetimeFigureOut">
              <a:rPr lang="zh-CN" altLang="en-US" smtClean="0"/>
              <a:t>2022/11/1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78271F-3D77-4A4A-A647-154385353537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49BC1D3D-7FCD-F3D2-9EE3-23E812CA1BFD}"/>
              </a:ext>
            </a:extLst>
          </p:cNvPr>
          <p:cNvSpPr txBox="1"/>
          <p:nvPr userDrawn="1"/>
        </p:nvSpPr>
        <p:spPr>
          <a:xfrm>
            <a:off x="9209312" y="233266"/>
            <a:ext cx="2901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首届中国</a:t>
            </a:r>
            <a:r>
              <a:rPr lang="en-US" altLang="zh-CN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eBPF</a:t>
            </a:r>
            <a:r>
              <a:rPr lang="zh-CN" altLang="en-US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研讨会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="" xmlns:a16="http://schemas.microsoft.com/office/drawing/2014/main" id="{A18F6BDE-24DE-05CD-C18D-6647A12B8766}"/>
              </a:ext>
            </a:extLst>
          </p:cNvPr>
          <p:cNvSpPr txBox="1"/>
          <p:nvPr userDrawn="1"/>
        </p:nvSpPr>
        <p:spPr>
          <a:xfrm>
            <a:off x="9209312" y="602598"/>
            <a:ext cx="290182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i="0" u="none" strike="noStrike" kern="1500" spc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思源宋体 CN Heavy" panose="02020900000000000000" pitchFamily="18" charset="-122"/>
                <a:ea typeface="思源宋体 CN Heavy" panose="02020900000000000000" pitchFamily="18" charset="-122"/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ebpftravel.com</a:t>
            </a:r>
            <a:endParaRPr lang="en-US" altLang="zh-CN" i="0" kern="1500" spc="1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="" xmlns:a16="http://schemas.microsoft.com/office/drawing/2014/main" id="{4C649A80-3A51-9B7B-B742-42410900F82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927" y="-6359"/>
            <a:ext cx="1326021" cy="12179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72" r:id="rId4"/>
    <p:sldLayoutId id="214748367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333F50"/>
          </a:solidFill>
          <a:latin typeface="Source Han Sans CN Heavy" panose="020B0500000000000000" pitchFamily="34" charset="-128"/>
          <a:ea typeface="Source Han Sans CN Heavy" panose="020B0500000000000000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703460AF-1F94-5545-24BE-E8870B3862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293102" y="184729"/>
            <a:ext cx="4673600" cy="1447675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="" xmlns:a16="http://schemas.microsoft.com/office/drawing/2014/main" id="{359F7B63-7672-AC59-482C-3ADFB0076FB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927" y="-6359"/>
            <a:ext cx="1326021" cy="1217913"/>
          </a:xfrm>
          <a:prstGeom prst="rect">
            <a:avLst/>
          </a:prstGeom>
        </p:spPr>
      </p:pic>
      <p:sp>
        <p:nvSpPr>
          <p:cNvPr id="2" name="标题占位符 1">
            <a:extLst>
              <a:ext uri="{FF2B5EF4-FFF2-40B4-BE49-F238E27FC236}">
                <a16:creationId xmlns="" xmlns:a16="http://schemas.microsoft.com/office/drawing/2014/main" id="{3AC107AC-CA3A-E196-AC9D-AAAD34E7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07E1306C-FE5A-8C4F-B9DA-ADF2406FBA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8F271ECA-321C-D895-E486-0D4C7385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CF4A22-C171-9D41-86CD-CB04D27A8D78}" type="datetimeFigureOut">
              <a:rPr kumimoji="1" lang="zh-CN" altLang="en-US" smtClean="0"/>
              <a:t>2022/11/12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B1E98748-79E5-A106-BE7A-9B50DBFFB7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FDF70F27-5FD4-131C-610B-853C2AA71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391ABC-DC72-8A45-8E28-E339D42FAEF2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7" name="图形 6">
            <a:extLst>
              <a:ext uri="{FF2B5EF4-FFF2-40B4-BE49-F238E27FC236}">
                <a16:creationId xmlns="" xmlns:a16="http://schemas.microsoft.com/office/drawing/2014/main" id="{F13E8D5C-6CCA-8FE4-3FAC-E20A68BC9FEA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387641" y="380087"/>
            <a:ext cx="847725" cy="428625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="" xmlns:a16="http://schemas.microsoft.com/office/drawing/2014/main" id="{0C31B340-6F55-7CD8-AEEB-11A8F5CE9B8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634662" y="5114541"/>
            <a:ext cx="1409700" cy="1162050"/>
          </a:xfrm>
          <a:prstGeom prst="rect">
            <a:avLst/>
          </a:prstGeom>
        </p:spPr>
      </p:pic>
      <p:pic>
        <p:nvPicPr>
          <p:cNvPr id="14" name="图形 13">
            <a:extLst>
              <a:ext uri="{FF2B5EF4-FFF2-40B4-BE49-F238E27FC236}">
                <a16:creationId xmlns="" xmlns:a16="http://schemas.microsoft.com/office/drawing/2014/main" id="{5D2F794E-B9CF-FDB2-C78B-9F3F7AC6F4C9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474076" y="5743575"/>
            <a:ext cx="3590924" cy="1104900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="" xmlns:a16="http://schemas.microsoft.com/office/drawing/2014/main" id="{6387D5F8-39E0-D42C-CF94-0CD64A8985B7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863387" y="153162"/>
            <a:ext cx="180975" cy="180975"/>
          </a:xfrm>
          <a:prstGeom prst="rect">
            <a:avLst/>
          </a:prstGeom>
        </p:spPr>
      </p:pic>
      <p:pic>
        <p:nvPicPr>
          <p:cNvPr id="16" name="图形 15">
            <a:extLst>
              <a:ext uri="{FF2B5EF4-FFF2-40B4-BE49-F238E27FC236}">
                <a16:creationId xmlns="" xmlns:a16="http://schemas.microsoft.com/office/drawing/2014/main" id="{000EFBC9-DF56-47D0-996D-0B7AB061131B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-19927" y="5734050"/>
            <a:ext cx="6800850" cy="1123950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DB5F863A-7783-C14E-C6AC-19AC7FF10E77}"/>
              </a:ext>
            </a:extLst>
          </p:cNvPr>
          <p:cNvSpPr txBox="1"/>
          <p:nvPr userDrawn="1"/>
        </p:nvSpPr>
        <p:spPr>
          <a:xfrm>
            <a:off x="9209312" y="233266"/>
            <a:ext cx="2901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首届中国</a:t>
            </a:r>
            <a:r>
              <a:rPr lang="en-US" altLang="zh-CN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eBPF</a:t>
            </a:r>
            <a:r>
              <a:rPr lang="zh-CN" altLang="en-US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研讨会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="" xmlns:a16="http://schemas.microsoft.com/office/drawing/2014/main" id="{1632EC0D-0D15-C257-9BE3-A4B4D8952285}"/>
              </a:ext>
            </a:extLst>
          </p:cNvPr>
          <p:cNvSpPr txBox="1"/>
          <p:nvPr userDrawn="1"/>
        </p:nvSpPr>
        <p:spPr>
          <a:xfrm>
            <a:off x="9209312" y="602598"/>
            <a:ext cx="2901822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i="0" u="none" strike="noStrike" kern="1500" spc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思源宋体 CN Heavy" panose="02020900000000000000" pitchFamily="18" charset="-122"/>
                <a:ea typeface="思源宋体 CN Heavy" panose="02020900000000000000" pitchFamily="18" charset="-122"/>
                <a:hlinkClick r:id="rId2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ebpftravel.com</a:t>
            </a:r>
            <a:endParaRPr lang="en-US" altLang="zh-CN" i="0" kern="1500" spc="10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67868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4" r:id="rId10"/>
    <p:sldLayoutId id="2147483675" r:id="rId11"/>
    <p:sldLayoutId id="214748367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2">
              <a:lumMod val="75000"/>
            </a:schemeClr>
          </a:solidFill>
          <a:latin typeface="Source Han Sans CN Bold" panose="020B0500000000000000" pitchFamily="34" charset="-128"/>
          <a:ea typeface="Source Han Sans CN Bold" panose="020B0500000000000000" pitchFamily="34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2">
              <a:lumMod val="75000"/>
            </a:schemeClr>
          </a:solidFill>
          <a:latin typeface="Source Han Sans CN Regular" panose="020B0500000000000000" pitchFamily="34" charset="-128"/>
          <a:ea typeface="Source Han Sans CN Regular" panose="020B0500000000000000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ee.com/openeuler/kernel/commit/c6ab314da8dbd4d55a9b8f644a7d35784e6f9ce5" TargetMode="Externa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ee.com/openeuler/kernel/commit/f43d0f489ce6dee8aabca809be59547c6ac5330d" TargetMode="External"/><Relationship Id="rId2" Type="http://schemas.openxmlformats.org/officeDocument/2006/relationships/hyperlink" Target="https://gitee.com/openeuler/kernel/commit/db9fce0310240968931c0df7ba38aea3722557b4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gitee.com/openeuler/kernel/commit/730b0038f2c3d8ede59113f4305a2b550c2c2ad3" TargetMode="External"/><Relationship Id="rId5" Type="http://schemas.openxmlformats.org/officeDocument/2006/relationships/hyperlink" Target="https://gitee.com/openeuler/kernel/commit/bdf2196b500a02440e484e6a8e21e6a0e84823dc" TargetMode="External"/><Relationship Id="rId4" Type="http://schemas.openxmlformats.org/officeDocument/2006/relationships/hyperlink" Target="https://gitee.com/openeuler/kernel/commit/7f0ad5a30b1aafbf155de504b73c445a12463816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ee.com/openeuler/kernel/commit/39921824ce83fbdaa37ea623c9ed15ce3f0c79d4" TargetMode="External"/><Relationship Id="rId2" Type="http://schemas.openxmlformats.org/officeDocument/2006/relationships/hyperlink" Target="https://gitee.com/openeuler/kernel/commit/9e819e7449aae40c50e40baf9a88bbcf5007379c" TargetMode="Externa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8.svg"/><Relationship Id="rId7" Type="http://schemas.openxmlformats.org/officeDocument/2006/relationships/image" Target="../media/image13.png"/><Relationship Id="rId12" Type="http://schemas.openxmlformats.org/officeDocument/2006/relationships/image" Target="../media/image2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11" Type="http://schemas.openxmlformats.org/officeDocument/2006/relationships/image" Target="../media/image15.png"/><Relationship Id="rId5" Type="http://schemas.openxmlformats.org/officeDocument/2006/relationships/image" Target="../media/image6.png"/><Relationship Id="rId10" Type="http://schemas.openxmlformats.org/officeDocument/2006/relationships/image" Target="../media/image22.svg"/><Relationship Id="rId4" Type="http://schemas.openxmlformats.org/officeDocument/2006/relationships/image" Target="../media/image3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ieeexplore.ieee.org/stamp/stamp.jsp?tp=&amp;arnumber=5443304" TargetMode="External"/><Relationship Id="rId7" Type="http://schemas.openxmlformats.org/officeDocument/2006/relationships/hyperlink" Target="https://lwn.net/Articles/873244/" TargetMode="External"/><Relationship Id="rId2" Type="http://schemas.openxmlformats.org/officeDocument/2006/relationships/hyperlink" Target="https://lwn.net/Articles/109049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lwn.net/Articles/879398/" TargetMode="External"/><Relationship Id="rId5" Type="http://schemas.openxmlformats.org/officeDocument/2006/relationships/hyperlink" Target="https://dl.acm.org/doi/10.1145/3477132.3483542" TargetMode="External"/><Relationship Id="rId4" Type="http://schemas.openxmlformats.org/officeDocument/2006/relationships/hyperlink" Target="https://upcommons.upc.edu/bitstream/handle/2117/117212/126937.pdf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D1ACE4ED-0F84-3E4C-ED79-35BD9A3918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编程调度框架交流研讨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="" xmlns:a16="http://schemas.microsoft.com/office/drawing/2014/main" id="{E6FD767A-0AC8-87AE-74BE-02128E0BCD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24586"/>
            <a:ext cx="9144000" cy="1655762"/>
          </a:xfrm>
        </p:spPr>
        <p:txBody>
          <a:bodyPr/>
          <a:lstStyle/>
          <a:p>
            <a:r>
              <a:rPr kumimoji="1"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讲人：陈辉</a:t>
            </a:r>
            <a:endParaRPr kumimoji="1"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1200"/>
              </a:spcBef>
            </a:pPr>
            <a:r>
              <a:rPr kumimoji="1" lang="en-US" altLang="zh-CN" dirty="0"/>
              <a:t>2022-11-1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87712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 txBox="1">
            <a:spLocks/>
          </p:cNvSpPr>
          <p:nvPr/>
        </p:nvSpPr>
        <p:spPr>
          <a:xfrm>
            <a:off x="7906165" y="6399644"/>
            <a:ext cx="1409280" cy="11017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1D7575-6DEF-4929-985F-3A0436863908}" type="datetime1">
              <a:rPr lang="zh-CN" altLang="en-US" sz="1799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1/12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副标题 2"/>
          <p:cNvSpPr txBox="1">
            <a:spLocks/>
          </p:cNvSpPr>
          <p:nvPr/>
        </p:nvSpPr>
        <p:spPr>
          <a:xfrm>
            <a:off x="1279930" y="247896"/>
            <a:ext cx="11952241" cy="53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en-US" altLang="zh-CN" sz="27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 UMCG scheduler toolkit</a:t>
            </a:r>
            <a:endParaRPr lang="zh-CN" altLang="en-US" sz="2799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43" name="组合 142"/>
          <p:cNvGrpSpPr/>
          <p:nvPr/>
        </p:nvGrpSpPr>
        <p:grpSpPr>
          <a:xfrm>
            <a:off x="426585" y="1393136"/>
            <a:ext cx="5563897" cy="4851522"/>
            <a:chOff x="191344" y="1167871"/>
            <a:chExt cx="5566070" cy="4853417"/>
          </a:xfrm>
        </p:grpSpPr>
        <p:sp>
          <p:nvSpPr>
            <p:cNvPr id="144" name="矩形 143"/>
            <p:cNvSpPr/>
            <p:nvPr/>
          </p:nvSpPr>
          <p:spPr bwMode="auto">
            <a:xfrm>
              <a:off x="1061401" y="4372936"/>
              <a:ext cx="2779407" cy="694958"/>
            </a:xfrm>
            <a:prstGeom prst="rect">
              <a:avLst/>
            </a:prstGeom>
            <a:solidFill>
              <a:srgbClr val="D1E4EB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5" name="矩形 144"/>
            <p:cNvSpPr/>
            <p:nvPr/>
          </p:nvSpPr>
          <p:spPr bwMode="auto">
            <a:xfrm>
              <a:off x="816041" y="2293059"/>
              <a:ext cx="4535786" cy="77859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6" name="矩形 145"/>
            <p:cNvSpPr/>
            <p:nvPr/>
          </p:nvSpPr>
          <p:spPr bwMode="auto">
            <a:xfrm>
              <a:off x="816041" y="1233805"/>
              <a:ext cx="4535786" cy="77859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7" name="椭圆 146"/>
            <p:cNvSpPr/>
            <p:nvPr/>
          </p:nvSpPr>
          <p:spPr bwMode="auto">
            <a:xfrm>
              <a:off x="1169125" y="158688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2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8" name="椭圆 147"/>
            <p:cNvSpPr/>
            <p:nvPr/>
          </p:nvSpPr>
          <p:spPr bwMode="auto">
            <a:xfrm>
              <a:off x="1860809" y="158688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9" name="椭圆 148"/>
            <p:cNvSpPr/>
            <p:nvPr/>
          </p:nvSpPr>
          <p:spPr bwMode="auto">
            <a:xfrm>
              <a:off x="2552493" y="158688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0" name="椭圆 149"/>
            <p:cNvSpPr/>
            <p:nvPr/>
          </p:nvSpPr>
          <p:spPr bwMode="auto">
            <a:xfrm>
              <a:off x="3244177" y="1582356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1" name="椭圆 150"/>
            <p:cNvSpPr/>
            <p:nvPr/>
          </p:nvSpPr>
          <p:spPr bwMode="auto">
            <a:xfrm>
              <a:off x="3935861" y="1582356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2" name="椭圆 151"/>
            <p:cNvSpPr/>
            <p:nvPr/>
          </p:nvSpPr>
          <p:spPr bwMode="auto">
            <a:xfrm>
              <a:off x="4627546" y="158688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3" name="椭圆 152"/>
            <p:cNvSpPr/>
            <p:nvPr/>
          </p:nvSpPr>
          <p:spPr bwMode="auto">
            <a:xfrm>
              <a:off x="1178178" y="2659719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4" name="椭圆 153"/>
            <p:cNvSpPr/>
            <p:nvPr/>
          </p:nvSpPr>
          <p:spPr bwMode="auto">
            <a:xfrm>
              <a:off x="1869862" y="2659719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5" name="椭圆 154"/>
            <p:cNvSpPr/>
            <p:nvPr/>
          </p:nvSpPr>
          <p:spPr bwMode="auto">
            <a:xfrm>
              <a:off x="2561546" y="2659719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6" name="椭圆 155"/>
            <p:cNvSpPr/>
            <p:nvPr/>
          </p:nvSpPr>
          <p:spPr bwMode="auto">
            <a:xfrm>
              <a:off x="3253230" y="2659719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2464681" y="1167871"/>
              <a:ext cx="10864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99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Application</a:t>
              </a:r>
              <a:endParaRPr lang="zh-CN" altLang="en-US" sz="1399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58" name="文本框 157"/>
            <p:cNvSpPr txBox="1"/>
            <p:nvPr/>
          </p:nvSpPr>
          <p:spPr>
            <a:xfrm>
              <a:off x="1384595" y="2245000"/>
              <a:ext cx="22832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99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User Scheduler Framework</a:t>
              </a:r>
              <a:endParaRPr lang="zh-CN" altLang="en-US" sz="1399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cxnSp>
          <p:nvCxnSpPr>
            <p:cNvPr id="159" name="直接连接符 158"/>
            <p:cNvCxnSpPr/>
            <p:nvPr/>
          </p:nvCxnSpPr>
          <p:spPr bwMode="auto">
            <a:xfrm flipV="1">
              <a:off x="191344" y="3376918"/>
              <a:ext cx="5566070" cy="11634"/>
            </a:xfrm>
            <a:prstGeom prst="line">
              <a:avLst/>
            </a:prstGeom>
            <a:solidFill>
              <a:srgbClr val="336699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0" name="矩形 159"/>
            <p:cNvSpPr/>
            <p:nvPr/>
          </p:nvSpPr>
          <p:spPr bwMode="auto">
            <a:xfrm>
              <a:off x="816041" y="3575906"/>
              <a:ext cx="4535786" cy="1539251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1221632" y="3630195"/>
              <a:ext cx="256524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99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Kernel Scheduler Framework</a:t>
              </a:r>
              <a:endParaRPr lang="zh-CN" altLang="en-US" sz="1399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62" name="椭圆 161"/>
            <p:cNvSpPr/>
            <p:nvPr/>
          </p:nvSpPr>
          <p:spPr bwMode="auto">
            <a:xfrm>
              <a:off x="1205337" y="5179323"/>
              <a:ext cx="325924" cy="280658"/>
            </a:xfrm>
            <a:prstGeom prst="ellipse">
              <a:avLst/>
            </a:prstGeom>
            <a:solidFill>
              <a:srgbClr val="7878A4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3" name="文本框 162"/>
            <p:cNvSpPr txBox="1"/>
            <p:nvPr/>
          </p:nvSpPr>
          <p:spPr>
            <a:xfrm>
              <a:off x="1162786" y="5198371"/>
              <a:ext cx="7007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05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CPU</a:t>
              </a:r>
              <a:endParaRPr lang="zh-CN" altLang="en-US" sz="105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64" name="椭圆 163"/>
            <p:cNvSpPr/>
            <p:nvPr/>
          </p:nvSpPr>
          <p:spPr bwMode="auto">
            <a:xfrm>
              <a:off x="1897019" y="5179323"/>
              <a:ext cx="325924" cy="280658"/>
            </a:xfrm>
            <a:prstGeom prst="ellipse">
              <a:avLst/>
            </a:prstGeom>
            <a:solidFill>
              <a:srgbClr val="7878A4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5" name="文本框 164"/>
            <p:cNvSpPr txBox="1"/>
            <p:nvPr/>
          </p:nvSpPr>
          <p:spPr>
            <a:xfrm>
              <a:off x="1854468" y="5198371"/>
              <a:ext cx="7007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05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CPU</a:t>
              </a:r>
              <a:endParaRPr lang="zh-CN" altLang="en-US" sz="105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66" name="椭圆 165"/>
            <p:cNvSpPr/>
            <p:nvPr/>
          </p:nvSpPr>
          <p:spPr bwMode="auto">
            <a:xfrm>
              <a:off x="2601377" y="5179323"/>
              <a:ext cx="325924" cy="280658"/>
            </a:xfrm>
            <a:prstGeom prst="ellipse">
              <a:avLst/>
            </a:prstGeom>
            <a:solidFill>
              <a:srgbClr val="7878A4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7" name="文本框 166"/>
            <p:cNvSpPr txBox="1"/>
            <p:nvPr/>
          </p:nvSpPr>
          <p:spPr>
            <a:xfrm>
              <a:off x="2558826" y="5198371"/>
              <a:ext cx="7007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05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CPU</a:t>
              </a:r>
              <a:endParaRPr lang="zh-CN" altLang="en-US" sz="105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68" name="椭圆 167"/>
            <p:cNvSpPr/>
            <p:nvPr/>
          </p:nvSpPr>
          <p:spPr bwMode="auto">
            <a:xfrm>
              <a:off x="3313887" y="5160358"/>
              <a:ext cx="325924" cy="280658"/>
            </a:xfrm>
            <a:prstGeom prst="ellipse">
              <a:avLst/>
            </a:prstGeom>
            <a:solidFill>
              <a:srgbClr val="7878A4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9" name="文本框 168"/>
            <p:cNvSpPr txBox="1"/>
            <p:nvPr/>
          </p:nvSpPr>
          <p:spPr>
            <a:xfrm>
              <a:off x="3271336" y="5179406"/>
              <a:ext cx="70073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05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CPU</a:t>
              </a:r>
              <a:endParaRPr lang="zh-CN" altLang="en-US" sz="105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1157355" y="1596878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1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1" name="文本框 170"/>
            <p:cNvSpPr txBox="1"/>
            <p:nvPr/>
          </p:nvSpPr>
          <p:spPr>
            <a:xfrm>
              <a:off x="1845422" y="1605314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2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2" name="文本框 171"/>
            <p:cNvSpPr txBox="1"/>
            <p:nvPr/>
          </p:nvSpPr>
          <p:spPr>
            <a:xfrm>
              <a:off x="2532582" y="1596261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3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3" name="文本框 172"/>
            <p:cNvSpPr txBox="1"/>
            <p:nvPr/>
          </p:nvSpPr>
          <p:spPr>
            <a:xfrm>
              <a:off x="3229698" y="1586897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4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3922285" y="1586897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5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5" name="文本框 174"/>
            <p:cNvSpPr txBox="1"/>
            <p:nvPr/>
          </p:nvSpPr>
          <p:spPr>
            <a:xfrm>
              <a:off x="4610741" y="1596261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6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6" name="文本框 175"/>
            <p:cNvSpPr txBox="1"/>
            <p:nvPr/>
          </p:nvSpPr>
          <p:spPr>
            <a:xfrm>
              <a:off x="1196284" y="2669243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1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7" name="文本框 176"/>
            <p:cNvSpPr txBox="1"/>
            <p:nvPr/>
          </p:nvSpPr>
          <p:spPr>
            <a:xfrm>
              <a:off x="1881634" y="2668772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2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8" name="文本框 177"/>
            <p:cNvSpPr txBox="1"/>
            <p:nvPr/>
          </p:nvSpPr>
          <p:spPr>
            <a:xfrm>
              <a:off x="2582374" y="2668772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3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79" name="文本框 178"/>
            <p:cNvSpPr txBox="1"/>
            <p:nvPr/>
          </p:nvSpPr>
          <p:spPr>
            <a:xfrm>
              <a:off x="3270429" y="2668158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4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80" name="椭圆 179"/>
            <p:cNvSpPr/>
            <p:nvPr/>
          </p:nvSpPr>
          <p:spPr bwMode="auto">
            <a:xfrm>
              <a:off x="1205337" y="4541285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1" name="椭圆 180"/>
            <p:cNvSpPr/>
            <p:nvPr/>
          </p:nvSpPr>
          <p:spPr bwMode="auto">
            <a:xfrm>
              <a:off x="1897021" y="4541285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2" name="椭圆 181"/>
            <p:cNvSpPr/>
            <p:nvPr/>
          </p:nvSpPr>
          <p:spPr bwMode="auto">
            <a:xfrm>
              <a:off x="2588705" y="4541285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3" name="椭圆 182"/>
            <p:cNvSpPr/>
            <p:nvPr/>
          </p:nvSpPr>
          <p:spPr bwMode="auto">
            <a:xfrm>
              <a:off x="3280389" y="4541285"/>
              <a:ext cx="325924" cy="280658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4" name="文本框 183"/>
            <p:cNvSpPr txBox="1"/>
            <p:nvPr/>
          </p:nvSpPr>
          <p:spPr>
            <a:xfrm>
              <a:off x="1223443" y="4550809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1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85" name="文本框 184"/>
            <p:cNvSpPr txBox="1"/>
            <p:nvPr/>
          </p:nvSpPr>
          <p:spPr>
            <a:xfrm>
              <a:off x="1908793" y="4550338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2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86" name="文本框 185"/>
            <p:cNvSpPr txBox="1"/>
            <p:nvPr/>
          </p:nvSpPr>
          <p:spPr>
            <a:xfrm>
              <a:off x="2609533" y="4550338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3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87" name="文本框 186"/>
            <p:cNvSpPr txBox="1"/>
            <p:nvPr/>
          </p:nvSpPr>
          <p:spPr>
            <a:xfrm>
              <a:off x="3298943" y="4541285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4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88" name="椭圆 187"/>
            <p:cNvSpPr/>
            <p:nvPr/>
          </p:nvSpPr>
          <p:spPr bwMode="auto">
            <a:xfrm>
              <a:off x="1196284" y="400432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2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9" name="椭圆 188"/>
            <p:cNvSpPr/>
            <p:nvPr/>
          </p:nvSpPr>
          <p:spPr bwMode="auto">
            <a:xfrm>
              <a:off x="1887968" y="400432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90" name="椭圆 189"/>
            <p:cNvSpPr/>
            <p:nvPr/>
          </p:nvSpPr>
          <p:spPr bwMode="auto">
            <a:xfrm>
              <a:off x="2579652" y="4004323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91" name="椭圆 190"/>
            <p:cNvSpPr/>
            <p:nvPr/>
          </p:nvSpPr>
          <p:spPr bwMode="auto">
            <a:xfrm>
              <a:off x="3271336" y="3999796"/>
              <a:ext cx="325924" cy="280658"/>
            </a:xfrm>
            <a:prstGeom prst="ellipse">
              <a:avLst/>
            </a:prstGeom>
            <a:solidFill>
              <a:srgbClr val="7CB7F8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92" name="文本框 191"/>
            <p:cNvSpPr txBox="1"/>
            <p:nvPr/>
          </p:nvSpPr>
          <p:spPr>
            <a:xfrm>
              <a:off x="1175461" y="4014318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1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93" name="文本框 192"/>
            <p:cNvSpPr txBox="1"/>
            <p:nvPr/>
          </p:nvSpPr>
          <p:spPr>
            <a:xfrm>
              <a:off x="1863528" y="4013701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2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94" name="文本框 193"/>
            <p:cNvSpPr txBox="1"/>
            <p:nvPr/>
          </p:nvSpPr>
          <p:spPr>
            <a:xfrm>
              <a:off x="2568794" y="4013701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3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195" name="文本框 194"/>
            <p:cNvSpPr txBox="1"/>
            <p:nvPr/>
          </p:nvSpPr>
          <p:spPr>
            <a:xfrm>
              <a:off x="3253230" y="4013376"/>
              <a:ext cx="51966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100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W4</a:t>
              </a:r>
              <a:endPara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cxnSp>
          <p:nvCxnSpPr>
            <p:cNvPr id="196" name="直接箭头连接符 195"/>
            <p:cNvCxnSpPr/>
            <p:nvPr/>
          </p:nvCxnSpPr>
          <p:spPr bwMode="auto">
            <a:xfrm>
              <a:off x="1313981" y="4284981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97" name="直接箭头连接符 196"/>
            <p:cNvCxnSpPr/>
            <p:nvPr/>
          </p:nvCxnSpPr>
          <p:spPr bwMode="auto">
            <a:xfrm>
              <a:off x="1435292" y="4266875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198" name="直接箭头连接符 197"/>
            <p:cNvCxnSpPr/>
            <p:nvPr/>
          </p:nvCxnSpPr>
          <p:spPr bwMode="auto">
            <a:xfrm>
              <a:off x="2005666" y="4303087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99" name="直接箭头连接符 198"/>
            <p:cNvCxnSpPr/>
            <p:nvPr/>
          </p:nvCxnSpPr>
          <p:spPr bwMode="auto">
            <a:xfrm>
              <a:off x="2126977" y="4284981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200" name="直接箭头连接符 199"/>
            <p:cNvCxnSpPr/>
            <p:nvPr/>
          </p:nvCxnSpPr>
          <p:spPr bwMode="auto">
            <a:xfrm>
              <a:off x="2707314" y="4286768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1" name="直接箭头连接符 200"/>
            <p:cNvCxnSpPr/>
            <p:nvPr/>
          </p:nvCxnSpPr>
          <p:spPr bwMode="auto">
            <a:xfrm>
              <a:off x="2828625" y="4268662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202" name="直接箭头连接符 201"/>
            <p:cNvCxnSpPr/>
            <p:nvPr/>
          </p:nvCxnSpPr>
          <p:spPr bwMode="auto">
            <a:xfrm>
              <a:off x="3385416" y="4286768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3" name="直接箭头连接符 202"/>
            <p:cNvCxnSpPr/>
            <p:nvPr/>
          </p:nvCxnSpPr>
          <p:spPr bwMode="auto">
            <a:xfrm>
              <a:off x="3506727" y="4268662"/>
              <a:ext cx="0" cy="256771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204" name="直接连接符 203"/>
            <p:cNvCxnSpPr/>
            <p:nvPr/>
          </p:nvCxnSpPr>
          <p:spPr bwMode="auto">
            <a:xfrm>
              <a:off x="960898" y="1321759"/>
              <a:ext cx="0" cy="4614640"/>
            </a:xfrm>
            <a:prstGeom prst="line">
              <a:avLst/>
            </a:prstGeom>
            <a:solidFill>
              <a:srgbClr val="336699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5" name="直接连接符 204"/>
            <p:cNvCxnSpPr/>
            <p:nvPr/>
          </p:nvCxnSpPr>
          <p:spPr bwMode="auto">
            <a:xfrm>
              <a:off x="3904182" y="2682358"/>
              <a:ext cx="0" cy="3254041"/>
            </a:xfrm>
            <a:prstGeom prst="line">
              <a:avLst/>
            </a:prstGeom>
            <a:solidFill>
              <a:srgbClr val="336699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直接连接符 205"/>
            <p:cNvCxnSpPr/>
            <p:nvPr/>
          </p:nvCxnSpPr>
          <p:spPr bwMode="auto">
            <a:xfrm flipH="1">
              <a:off x="3904183" y="1477109"/>
              <a:ext cx="1726489" cy="1202696"/>
            </a:xfrm>
            <a:prstGeom prst="line">
              <a:avLst/>
            </a:prstGeom>
            <a:solidFill>
              <a:srgbClr val="336699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7" name="直接箭头连接符 206"/>
            <p:cNvCxnSpPr/>
            <p:nvPr/>
          </p:nvCxnSpPr>
          <p:spPr bwMode="auto">
            <a:xfrm>
              <a:off x="973560" y="5719117"/>
              <a:ext cx="2907983" cy="0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triangle" w="med" len="med"/>
              <a:tailEnd type="triangle"/>
            </a:ln>
            <a:effectLst/>
          </p:spPr>
        </p:cxnSp>
        <p:sp>
          <p:nvSpPr>
            <p:cNvPr id="208" name="文本框 207"/>
            <p:cNvSpPr txBox="1"/>
            <p:nvPr/>
          </p:nvSpPr>
          <p:spPr>
            <a:xfrm>
              <a:off x="2110687" y="5713511"/>
              <a:ext cx="7767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99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Group</a:t>
              </a:r>
              <a:endParaRPr lang="zh-CN" altLang="en-US" sz="1399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cxnSp>
          <p:nvCxnSpPr>
            <p:cNvPr id="209" name="直接箭头连接符 208"/>
            <p:cNvCxnSpPr>
              <a:stCxn id="147" idx="4"/>
            </p:cNvCxnSpPr>
            <p:nvPr/>
          </p:nvCxnSpPr>
          <p:spPr bwMode="auto">
            <a:xfrm>
              <a:off x="1332087" y="1867541"/>
              <a:ext cx="9053" cy="801702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0" name="直接箭头连接符 209"/>
            <p:cNvCxnSpPr>
              <a:stCxn id="148" idx="4"/>
              <a:endCxn id="154" idx="0"/>
            </p:cNvCxnSpPr>
            <p:nvPr/>
          </p:nvCxnSpPr>
          <p:spPr bwMode="auto">
            <a:xfrm>
              <a:off x="2023771" y="1867541"/>
              <a:ext cx="9053" cy="792178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1" name="直接箭头连接符 210"/>
            <p:cNvCxnSpPr>
              <a:stCxn id="149" idx="4"/>
              <a:endCxn id="155" idx="0"/>
            </p:cNvCxnSpPr>
            <p:nvPr/>
          </p:nvCxnSpPr>
          <p:spPr bwMode="auto">
            <a:xfrm>
              <a:off x="2715455" y="1867541"/>
              <a:ext cx="9053" cy="792178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2" name="直接箭头连接符 211"/>
            <p:cNvCxnSpPr>
              <a:stCxn id="150" idx="4"/>
            </p:cNvCxnSpPr>
            <p:nvPr/>
          </p:nvCxnSpPr>
          <p:spPr bwMode="auto">
            <a:xfrm>
              <a:off x="3407139" y="1863014"/>
              <a:ext cx="9053" cy="835652"/>
            </a:xfrm>
            <a:prstGeom prst="straightConnector1">
              <a:avLst/>
            </a:prstGeom>
            <a:solidFill>
              <a:srgbClr val="336699"/>
            </a:solidFill>
            <a:ln w="9525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213" name="文本框 212"/>
            <p:cNvSpPr txBox="1"/>
            <p:nvPr/>
          </p:nvSpPr>
          <p:spPr>
            <a:xfrm>
              <a:off x="1271540" y="3081183"/>
              <a:ext cx="10954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599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yscall</a:t>
              </a:r>
              <a:endParaRPr lang="zh-CN" altLang="en-US" sz="1599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214" name="文本框 213"/>
            <p:cNvSpPr txBox="1"/>
            <p:nvPr/>
          </p:nvSpPr>
          <p:spPr>
            <a:xfrm>
              <a:off x="2764453" y="3143841"/>
              <a:ext cx="109546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状态同步</a:t>
              </a:r>
            </a:p>
          </p:txBody>
        </p:sp>
        <p:sp>
          <p:nvSpPr>
            <p:cNvPr id="215" name="文本框 214"/>
            <p:cNvSpPr txBox="1"/>
            <p:nvPr/>
          </p:nvSpPr>
          <p:spPr>
            <a:xfrm>
              <a:off x="4229600" y="3102565"/>
              <a:ext cx="15110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200" b="1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UserSpace</a:t>
              </a:r>
              <a:endParaRPr lang="zh-CN" altLang="en-US" sz="1200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216" name="文本框 215"/>
            <p:cNvSpPr txBox="1"/>
            <p:nvPr/>
          </p:nvSpPr>
          <p:spPr>
            <a:xfrm>
              <a:off x="4229995" y="3347033"/>
              <a:ext cx="15110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200" b="1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KernelSpace</a:t>
              </a:r>
              <a:endParaRPr lang="zh-CN" altLang="en-US" sz="1200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  <p:sp>
          <p:nvSpPr>
            <p:cNvPr id="217" name="右大括号 216"/>
            <p:cNvSpPr/>
            <p:nvPr/>
          </p:nvSpPr>
          <p:spPr bwMode="auto">
            <a:xfrm>
              <a:off x="4026823" y="4063181"/>
              <a:ext cx="92341" cy="604990"/>
            </a:xfrm>
            <a:prstGeom prst="rightBrace">
              <a:avLst>
                <a:gd name="adj1" fmla="val 30905"/>
                <a:gd name="adj2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zh-CN" altLang="en-US" sz="2499" kern="0">
                <a:solidFill>
                  <a:srgbClr val="000000"/>
                </a:solidFill>
                <a:latin typeface="FrutigerNext LT BlackCn" pitchFamily="34" charset="0"/>
                <a:ea typeface="黑体"/>
              </a:endParaRPr>
            </a:p>
          </p:txBody>
        </p:sp>
        <p:sp>
          <p:nvSpPr>
            <p:cNvPr id="218" name="文本框 217"/>
            <p:cNvSpPr txBox="1"/>
            <p:nvPr/>
          </p:nvSpPr>
          <p:spPr>
            <a:xfrm>
              <a:off x="4201590" y="4145439"/>
              <a:ext cx="151101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同步线程切换</a:t>
              </a:r>
              <a:endParaRPr lang="en-US" altLang="zh-CN" sz="1200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  <a:p>
              <a:pPr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Bypass </a:t>
              </a:r>
              <a:r>
                <a:rPr lang="zh-CN" altLang="en-US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调度</a:t>
              </a:r>
            </a:p>
          </p:txBody>
        </p:sp>
        <p:sp>
          <p:nvSpPr>
            <p:cNvPr id="219" name="文本框 218"/>
            <p:cNvSpPr txBox="1"/>
            <p:nvPr/>
          </p:nvSpPr>
          <p:spPr>
            <a:xfrm>
              <a:off x="1353825" y="4777161"/>
              <a:ext cx="21034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11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399" b="1" dirty="0">
                  <a:solidFill>
                    <a:srgbClr val="000000"/>
                  </a:solidFill>
                  <a:latin typeface="Times New Roman" panose="02020603050405020304" pitchFamily="18" charset="0"/>
                  <a:ea typeface="黑体"/>
                  <a:cs typeface="Times New Roman" panose="02020603050405020304" pitchFamily="18" charset="0"/>
                </a:rPr>
                <a:t>scheduler</a:t>
              </a:r>
              <a:endParaRPr lang="zh-CN" altLang="en-US" sz="1399" b="1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endParaRPr>
            </a:p>
          </p:txBody>
        </p:sp>
      </p:grpSp>
      <p:sp>
        <p:nvSpPr>
          <p:cNvPr id="220" name="文本框 219"/>
          <p:cNvSpPr txBox="1"/>
          <p:nvPr/>
        </p:nvSpPr>
        <p:spPr>
          <a:xfrm>
            <a:off x="6453517" y="2091110"/>
            <a:ext cx="51414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99"/>
              </a:lnSpc>
            </a:pPr>
            <a:r>
              <a:rPr lang="en-US" altLang="zh-CN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主要解决协程</a:t>
            </a:r>
            <a:r>
              <a:rPr lang="en-US" altLang="zh-CN" sz="1399" dirty="0" err="1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upcall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问题，可以实现进程级可编程能力；</a:t>
            </a:r>
            <a:endParaRPr lang="en-US" altLang="zh-CN" sz="13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199"/>
              </a:lnSpc>
            </a:pPr>
            <a:r>
              <a:rPr lang="en-US" altLang="zh-CN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erv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负责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Work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的调度，具体的调度方法在用户态编程实现；</a:t>
            </a:r>
            <a:endParaRPr lang="en-US" altLang="zh-CN" sz="13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1" name="文本框 220"/>
          <p:cNvSpPr txBox="1"/>
          <p:nvPr/>
        </p:nvSpPr>
        <p:spPr>
          <a:xfrm>
            <a:off x="6479353" y="3321863"/>
            <a:ext cx="4750777" cy="2298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99"/>
              </a:lnSpc>
            </a:pPr>
            <a:r>
              <a:rPr lang="zh-CN" altLang="en-US" sz="1399" b="1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体思路：</a:t>
            </a:r>
            <a:endParaRPr lang="en-US" altLang="zh-CN" sz="1399" b="1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899"/>
              </a:lnSpc>
            </a:pPr>
            <a:endParaRPr lang="en-US" altLang="zh-CN" sz="13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899"/>
              </a:lnSpc>
            </a:pPr>
            <a:r>
              <a:rPr lang="en-US" altLang="zh-CN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erv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负责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Work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的调度；</a:t>
            </a:r>
            <a:endParaRPr lang="en-US" altLang="zh-CN" sz="13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299"/>
              </a:lnSpc>
            </a:pPr>
            <a:r>
              <a:rPr lang="en-US" altLang="zh-CN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erv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可感知到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Work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的阻塞行为，当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Work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发生阻塞，则由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erv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拉起其他</a:t>
            </a:r>
            <a:r>
              <a:rPr lang="en-US" altLang="zh-CN" sz="1399" dirty="0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Worker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进行运行，提升最大吞吐；</a:t>
            </a:r>
            <a:endParaRPr lang="en-US" altLang="zh-CN" sz="13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299"/>
              </a:lnSpc>
            </a:pPr>
            <a:r>
              <a:rPr lang="en-US" altLang="zh-CN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主要应用在解决协程</a:t>
            </a:r>
            <a:r>
              <a:rPr lang="en-US" altLang="zh-CN" sz="1399" dirty="0" err="1">
                <a:solidFill>
                  <a:srgbClr val="666666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upcall</a:t>
            </a:r>
            <a:r>
              <a:rPr lang="zh-CN" altLang="en-US" sz="1399" dirty="0">
                <a:solidFill>
                  <a:srgbClr val="6666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题，也可以用在安全沙箱上（利用进程级隔离能力）；</a:t>
            </a:r>
          </a:p>
        </p:txBody>
      </p:sp>
    </p:spTree>
    <p:extLst>
      <p:ext uri="{BB962C8B-B14F-4D97-AF65-F5344CB8AC3E}">
        <p14:creationId xmlns:p14="http://schemas.microsoft.com/office/powerpoint/2010/main" val="233089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2"/>
          <p:cNvSpPr txBox="1">
            <a:spLocks/>
          </p:cNvSpPr>
          <p:nvPr/>
        </p:nvSpPr>
        <p:spPr>
          <a:xfrm>
            <a:off x="1328331" y="401156"/>
            <a:ext cx="11952241" cy="430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sz="27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ebook ebpf scheduler Framework</a:t>
            </a:r>
            <a:endParaRPr lang="zh-CN" altLang="en-US" sz="2799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1167830" y="1992014"/>
            <a:ext cx="5998622" cy="3576107"/>
            <a:chOff x="1975681" y="1567824"/>
            <a:chExt cx="8372857" cy="3577504"/>
          </a:xfrm>
        </p:grpSpPr>
        <p:sp>
          <p:nvSpPr>
            <p:cNvPr id="45" name="矩形 44"/>
            <p:cNvSpPr/>
            <p:nvPr/>
          </p:nvSpPr>
          <p:spPr bwMode="auto">
            <a:xfrm>
              <a:off x="2016537" y="3408673"/>
              <a:ext cx="8015839" cy="1736655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367"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46" name="矩形 45"/>
            <p:cNvSpPr/>
            <p:nvPr/>
          </p:nvSpPr>
          <p:spPr bwMode="auto">
            <a:xfrm>
              <a:off x="1994771" y="2328554"/>
              <a:ext cx="8037606" cy="648072"/>
            </a:xfrm>
            <a:prstGeom prst="rect">
              <a:avLst/>
            </a:prstGeom>
            <a:solidFill>
              <a:srgbClr val="5B9BD5">
                <a:lumMod val="40000"/>
                <a:lumOff val="6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67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LLVM/bcc tools(BPF </a:t>
              </a:r>
              <a:r>
                <a:rPr lang="en-US" altLang="zh-CN" sz="1200" kern="0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bytecode</a:t>
              </a:r>
              <a:r>
                <a:rPr lang="en-US" altLang="zh-CN" sz="12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)</a:t>
              </a:r>
              <a:endParaRPr lang="zh-CN" altLang="en-US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47" name="矩形 46"/>
            <p:cNvSpPr/>
            <p:nvPr/>
          </p:nvSpPr>
          <p:spPr bwMode="auto">
            <a:xfrm>
              <a:off x="2646024" y="4642730"/>
              <a:ext cx="7076409" cy="29299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67">
                <a:defRPr/>
              </a:pPr>
              <a:r>
                <a:rPr lang="en-US" altLang="zh-CN" sz="1599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Linux CFS scheduling class</a:t>
              </a:r>
              <a:endParaRPr lang="zh-CN" altLang="en-US" sz="1599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48" name="矩形 47"/>
            <p:cNvSpPr/>
            <p:nvPr/>
          </p:nvSpPr>
          <p:spPr bwMode="auto">
            <a:xfrm>
              <a:off x="1994771" y="1567824"/>
              <a:ext cx="8037604" cy="633971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801367">
                <a:defRPr/>
              </a:pPr>
              <a:r>
                <a:rPr lang="en-US" altLang="zh-CN" sz="1200" b="1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Facebook scheduler</a:t>
              </a:r>
            </a:p>
            <a:p>
              <a:pPr algn="ctr" defTabSz="801367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Mixed request workloads</a:t>
              </a:r>
            </a:p>
            <a:p>
              <a:pPr algn="ctr" defTabSz="801367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1% X </a:t>
              </a:r>
              <a:r>
                <a:rPr lang="en-US" altLang="zh-CN" sz="1200" kern="0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throught</a:t>
              </a:r>
              <a:endParaRPr lang="zh-CN" altLang="en-US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49" name="矩形 48"/>
            <p:cNvSpPr/>
            <p:nvPr/>
          </p:nvSpPr>
          <p:spPr bwMode="auto">
            <a:xfrm>
              <a:off x="2662946" y="4103264"/>
              <a:ext cx="1150976" cy="267293"/>
            </a:xfrm>
            <a:prstGeom prst="rect">
              <a:avLst/>
            </a:prstGeom>
            <a:solidFill>
              <a:srgbClr val="FFCC66">
                <a:lumMod val="20000"/>
                <a:lumOff val="8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67">
                <a:defRPr/>
              </a:pPr>
              <a:r>
                <a:rPr lang="en-US" altLang="zh-CN" sz="800" kern="0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tick_preempt</a:t>
              </a:r>
              <a:endParaRPr lang="zh-CN" altLang="en-US" sz="8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50" name="矩形 49"/>
            <p:cNvSpPr/>
            <p:nvPr/>
          </p:nvSpPr>
          <p:spPr bwMode="auto">
            <a:xfrm>
              <a:off x="4027910" y="4103404"/>
              <a:ext cx="1313389" cy="267293"/>
            </a:xfrm>
            <a:prstGeom prst="rect">
              <a:avLst/>
            </a:prstGeom>
            <a:solidFill>
              <a:srgbClr val="FFCC66">
                <a:lumMod val="20000"/>
                <a:lumOff val="8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67">
                <a:defRPr/>
              </a:pPr>
              <a:r>
                <a:rPr lang="en-US" altLang="zh-CN" sz="8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wakeup preempt</a:t>
              </a:r>
              <a:endParaRPr lang="zh-CN" altLang="en-US" sz="8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cxnSp>
          <p:nvCxnSpPr>
            <p:cNvPr id="51" name="直接连接符 50"/>
            <p:cNvCxnSpPr/>
            <p:nvPr/>
          </p:nvCxnSpPr>
          <p:spPr bwMode="auto">
            <a:xfrm flipV="1">
              <a:off x="1975681" y="3224008"/>
              <a:ext cx="8099977" cy="19630"/>
            </a:xfrm>
            <a:prstGeom prst="line">
              <a:avLst/>
            </a:prstGeom>
            <a:noFill/>
            <a:ln w="317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2" name="矩形 51"/>
            <p:cNvSpPr/>
            <p:nvPr/>
          </p:nvSpPr>
          <p:spPr bwMode="auto">
            <a:xfrm>
              <a:off x="7808998" y="3458722"/>
              <a:ext cx="1270641" cy="346419"/>
            </a:xfrm>
            <a:prstGeom prst="rect">
              <a:avLst/>
            </a:prstGeom>
            <a:solidFill>
              <a:srgbClr val="FFCC66">
                <a:lumMod val="40000"/>
                <a:lumOff val="6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367">
                <a:defRPr/>
              </a:pPr>
              <a:r>
                <a:rPr lang="en-US" altLang="zh-CN" sz="1599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BPF</a:t>
              </a:r>
              <a:endParaRPr lang="zh-CN" altLang="en-US" sz="1599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cxnSp>
          <p:nvCxnSpPr>
            <p:cNvPr id="53" name="直接箭头连接符 52"/>
            <p:cNvCxnSpPr>
              <a:stCxn id="48" idx="2"/>
              <a:endCxn id="46" idx="0"/>
            </p:cNvCxnSpPr>
            <p:nvPr/>
          </p:nvCxnSpPr>
          <p:spPr bwMode="auto">
            <a:xfrm>
              <a:off x="6013574" y="2201795"/>
              <a:ext cx="0" cy="126759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4" name="矩形 53"/>
            <p:cNvSpPr/>
            <p:nvPr/>
          </p:nvSpPr>
          <p:spPr bwMode="auto">
            <a:xfrm>
              <a:off x="5466018" y="4114749"/>
              <a:ext cx="1116878" cy="267293"/>
            </a:xfrm>
            <a:prstGeom prst="rect">
              <a:avLst/>
            </a:prstGeom>
            <a:solidFill>
              <a:srgbClr val="FFCC66">
                <a:lumMod val="20000"/>
                <a:lumOff val="8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69" tIns="39585" rIns="79169" bIns="3958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01367">
                <a:defRPr/>
              </a:pPr>
              <a:r>
                <a:rPr lang="en-US" altLang="zh-CN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select task </a:t>
              </a:r>
              <a:r>
                <a:rPr lang="en-US" altLang="zh-CN" sz="900" kern="0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rq</a:t>
              </a:r>
              <a:endParaRPr lang="zh-CN" altLang="en-US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55" name="圆柱形 54"/>
            <p:cNvSpPr/>
            <p:nvPr/>
          </p:nvSpPr>
          <p:spPr bwMode="auto">
            <a:xfrm>
              <a:off x="7933718" y="4029821"/>
              <a:ext cx="1037748" cy="280657"/>
            </a:xfrm>
            <a:prstGeom prst="can">
              <a:avLst/>
            </a:prstGeom>
            <a:solidFill>
              <a:srgbClr val="FFEBC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04" tIns="45702" rIns="91404" bIns="4570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367">
                <a:defRPr/>
              </a:pPr>
              <a:r>
                <a:rPr lang="en-US" altLang="zh-CN" sz="8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ebpf map</a:t>
              </a:r>
              <a:endParaRPr lang="zh-CN" altLang="en-US" sz="8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56" name="肘形连接符 55"/>
            <p:cNvCxnSpPr>
              <a:endCxn id="52" idx="3"/>
            </p:cNvCxnSpPr>
            <p:nvPr/>
          </p:nvCxnSpPr>
          <p:spPr bwMode="auto">
            <a:xfrm rot="5400000">
              <a:off x="8884961" y="3171306"/>
              <a:ext cx="655306" cy="265947"/>
            </a:xfrm>
            <a:prstGeom prst="bentConnector2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57" name="肘形连接符 56"/>
            <p:cNvCxnSpPr>
              <a:endCxn id="55" idx="4"/>
            </p:cNvCxnSpPr>
            <p:nvPr/>
          </p:nvCxnSpPr>
          <p:spPr bwMode="auto">
            <a:xfrm rot="5400000">
              <a:off x="8667053" y="3281042"/>
              <a:ext cx="1193522" cy="584695"/>
            </a:xfrm>
            <a:prstGeom prst="bentConnector2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9" name="肘形连接符 68"/>
            <p:cNvCxnSpPr>
              <a:stCxn id="52" idx="1"/>
              <a:endCxn id="54" idx="0"/>
            </p:cNvCxnSpPr>
            <p:nvPr/>
          </p:nvCxnSpPr>
          <p:spPr bwMode="auto">
            <a:xfrm rot="10800000" flipV="1">
              <a:off x="6024457" y="3631931"/>
              <a:ext cx="1784542" cy="482817"/>
            </a:xfrm>
            <a:prstGeom prst="bentConnector2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0" name="肘形连接符 69"/>
            <p:cNvCxnSpPr>
              <a:stCxn id="52" idx="1"/>
              <a:endCxn id="50" idx="0"/>
            </p:cNvCxnSpPr>
            <p:nvPr/>
          </p:nvCxnSpPr>
          <p:spPr bwMode="auto">
            <a:xfrm rot="10800000" flipV="1">
              <a:off x="4684606" y="3631932"/>
              <a:ext cx="3124394" cy="471472"/>
            </a:xfrm>
            <a:prstGeom prst="bentConnector2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1" name="肘形连接符 70"/>
            <p:cNvCxnSpPr>
              <a:stCxn id="52" idx="1"/>
              <a:endCxn id="49" idx="0"/>
            </p:cNvCxnSpPr>
            <p:nvPr/>
          </p:nvCxnSpPr>
          <p:spPr bwMode="auto">
            <a:xfrm rot="10800000" flipV="1">
              <a:off x="3238435" y="3631932"/>
              <a:ext cx="4570565" cy="471332"/>
            </a:xfrm>
            <a:prstGeom prst="bentConnector2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2" name="直接箭头连接符 71"/>
            <p:cNvCxnSpPr>
              <a:stCxn id="55" idx="3"/>
            </p:cNvCxnSpPr>
            <p:nvPr/>
          </p:nvCxnSpPr>
          <p:spPr bwMode="auto">
            <a:xfrm flipH="1">
              <a:off x="8450899" y="4310478"/>
              <a:ext cx="1693" cy="332252"/>
            </a:xfrm>
            <a:prstGeom prst="straightConnector1">
              <a:avLst/>
            </a:prstGeom>
            <a:solidFill>
              <a:srgbClr val="4472C4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sp>
          <p:nvSpPr>
            <p:cNvPr id="74" name="文本框 73"/>
            <p:cNvSpPr txBox="1"/>
            <p:nvPr/>
          </p:nvSpPr>
          <p:spPr>
            <a:xfrm>
              <a:off x="8946847" y="4162203"/>
              <a:ext cx="14016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 err="1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tgid</a:t>
              </a:r>
              <a:r>
                <a:rPr lang="en-US" altLang="zh-CN" sz="1200" kern="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&amp; id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 err="1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cgroup</a:t>
              </a:r>
              <a:r>
                <a:rPr lang="en-US" altLang="zh-CN" sz="1200" kern="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 id</a:t>
              </a:r>
              <a:endParaRPr lang="zh-CN" altLang="en-US" sz="1200" kern="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76" name="文本框 75"/>
          <p:cNvSpPr txBox="1"/>
          <p:nvPr/>
        </p:nvSpPr>
        <p:spPr>
          <a:xfrm>
            <a:off x="7662246" y="3263262"/>
            <a:ext cx="4260462" cy="733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09" indent="-228509">
              <a:lnSpc>
                <a:spcPts val="2499"/>
              </a:lnSpc>
              <a:buFontTx/>
              <a:buAutoNum type="arabicParenR"/>
            </a:pPr>
            <a:r>
              <a:rPr lang="zh-CN" altLang="en-US" sz="13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基于</a:t>
            </a:r>
            <a:r>
              <a:rPr lang="en-US" altLang="zh-CN" sz="1399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bpf</a:t>
            </a:r>
            <a:r>
              <a:rPr lang="zh-CN" altLang="en-US" sz="13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可编程调度的基本框架；</a:t>
            </a:r>
            <a:endParaRPr lang="en-US" altLang="zh-CN" sz="1399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28509" indent="-228509">
              <a:lnSpc>
                <a:spcPts val="2499"/>
              </a:lnSpc>
              <a:buFontTx/>
              <a:buAutoNum type="arabicParenR"/>
            </a:pPr>
            <a:r>
              <a:rPr lang="zh-CN" altLang="en-US" sz="13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基于</a:t>
            </a:r>
            <a:r>
              <a:rPr lang="en-US" altLang="zh-CN" sz="1399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bpf</a:t>
            </a:r>
            <a:r>
              <a:rPr lang="en-US" altLang="zh-CN" sz="13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399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提供简单的抢占策略；</a:t>
            </a:r>
            <a:endParaRPr lang="en-US" altLang="zh-CN" sz="1399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07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 txBox="1">
            <a:spLocks/>
          </p:cNvSpPr>
          <p:nvPr/>
        </p:nvSpPr>
        <p:spPr>
          <a:xfrm>
            <a:off x="7906165" y="6399644"/>
            <a:ext cx="1409280" cy="11017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1D7575-6DEF-4929-985F-3A0436863908}" type="datetime1">
              <a:rPr lang="zh-CN" altLang="en-US" sz="1799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1/12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副标题 2"/>
          <p:cNvSpPr txBox="1">
            <a:spLocks/>
          </p:cNvSpPr>
          <p:nvPr/>
        </p:nvSpPr>
        <p:spPr>
          <a:xfrm>
            <a:off x="1365443" y="231776"/>
            <a:ext cx="11952241" cy="53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en-US" altLang="zh-CN" sz="27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rup scheduler Framework</a:t>
            </a:r>
            <a:endParaRPr lang="zh-CN" altLang="en-US" sz="2799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11780" y="1227690"/>
            <a:ext cx="5052804" cy="1753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需求：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场景不同调度策略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“任务排布稳定”场景适合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CFS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度策略；“任务排布高度变化”场景适合抢占和资源分割的调度策略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FS)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“内存敏感性”。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底噪负载： 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1us or less 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！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度策略安全隔离：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1621" y="2600995"/>
            <a:ext cx="6025360" cy="3831822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3"/>
          <a:srcRect l="-1835"/>
          <a:stretch/>
        </p:blipFill>
        <p:spPr>
          <a:xfrm>
            <a:off x="1650744" y="2981331"/>
            <a:ext cx="1987518" cy="1535575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5951621" y="1227690"/>
            <a:ext cx="5895709" cy="1199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yrup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如何满足业务需求：</a:t>
            </a: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场景不同调度策略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基于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BPF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hOSt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将调度装换成策略匹配问题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底噪负载： 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1us or less 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！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381" indent="-171381" defTabSz="91411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度策略安全隔离：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入全局仲裁器，为不同应用使能不同调度策略。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4"/>
          <a:srcRect t="4768"/>
          <a:stretch/>
        </p:blipFill>
        <p:spPr>
          <a:xfrm>
            <a:off x="407861" y="4751332"/>
            <a:ext cx="5156723" cy="163537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3041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EDBEDB5-8596-FA37-F2DC-D059A06E9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方案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115905CF-203B-0EE5-237C-F6807128E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6285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4845" y="73334"/>
            <a:ext cx="10515600" cy="1325563"/>
          </a:xfrm>
        </p:spPr>
        <p:txBody>
          <a:bodyPr>
            <a:normAutofit/>
          </a:bodyPr>
          <a:lstStyle/>
          <a:p>
            <a:pPr defTabSz="914217" eaLnBrk="0" fontAlgn="base" hangingPunct="0">
              <a:lnSpc>
                <a:spcPct val="100000"/>
              </a:lnSpc>
              <a:spcAft>
                <a:spcPct val="0"/>
              </a:spcAft>
              <a:buClr>
                <a:srgbClr val="808080"/>
              </a:buClr>
              <a:buSzPct val="60000"/>
            </a:pPr>
            <a:r>
              <a:rPr lang="zh-CN" altLang="en-US" sz="2799" dirty="0">
                <a:solidFill>
                  <a:schemeClr val="tx1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可编程调度框架</a:t>
            </a:r>
          </a:p>
        </p:txBody>
      </p:sp>
      <p:grpSp>
        <p:nvGrpSpPr>
          <p:cNvPr id="44" name="组合 43"/>
          <p:cNvGrpSpPr/>
          <p:nvPr/>
        </p:nvGrpSpPr>
        <p:grpSpPr>
          <a:xfrm>
            <a:off x="595907" y="1740100"/>
            <a:ext cx="6552728" cy="4248471"/>
            <a:chOff x="623392" y="1628800"/>
            <a:chExt cx="6552728" cy="4248471"/>
          </a:xfrm>
        </p:grpSpPr>
        <p:sp>
          <p:nvSpPr>
            <p:cNvPr id="47" name="矩形 46"/>
            <p:cNvSpPr/>
            <p:nvPr/>
          </p:nvSpPr>
          <p:spPr bwMode="auto">
            <a:xfrm>
              <a:off x="643575" y="3869852"/>
              <a:ext cx="6374004" cy="200741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cxnSp>
          <p:nvCxnSpPr>
            <p:cNvPr id="49" name="直接连接符 48"/>
            <p:cNvCxnSpPr/>
            <p:nvPr/>
          </p:nvCxnSpPr>
          <p:spPr bwMode="auto">
            <a:xfrm>
              <a:off x="643575" y="3506673"/>
              <a:ext cx="6532545" cy="28698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1" name="矩形 50"/>
            <p:cNvSpPr/>
            <p:nvPr/>
          </p:nvSpPr>
          <p:spPr bwMode="auto">
            <a:xfrm>
              <a:off x="623392" y="1636109"/>
              <a:ext cx="6394187" cy="167900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1296845" y="3859662"/>
              <a:ext cx="5253928" cy="294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398" b="1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MS PGothic" pitchFamily="34" charset="-128"/>
                  <a:cs typeface="Times New Roman" panose="02020603050405020304" pitchFamily="18" charset="0"/>
                </a:rPr>
                <a:t>Kernel programmable scheduler framework</a:t>
              </a:r>
              <a:endParaRPr lang="zh-CN" altLang="en-US" sz="1398" b="1" kern="0" dirty="0">
                <a:solidFill>
                  <a:srgbClr val="0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2072954" y="1628800"/>
              <a:ext cx="3975677" cy="294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398" b="1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MS PGothic" pitchFamily="34" charset="-128"/>
                  <a:cs typeface="Times New Roman" panose="02020603050405020304" pitchFamily="18" charset="0"/>
                </a:rPr>
                <a:t>User programmable scheduler policy</a:t>
              </a:r>
              <a:endParaRPr lang="zh-CN" altLang="en-US" sz="1398" b="1" kern="0" dirty="0">
                <a:solidFill>
                  <a:srgbClr val="0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56" name="矩形 55"/>
            <p:cNvSpPr/>
            <p:nvPr/>
          </p:nvSpPr>
          <p:spPr bwMode="auto">
            <a:xfrm>
              <a:off x="2116866" y="4830075"/>
              <a:ext cx="4709722" cy="94121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2668422" y="4797152"/>
              <a:ext cx="3571594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调度</a:t>
              </a:r>
            </a:p>
          </p:txBody>
        </p:sp>
        <p:sp>
          <p:nvSpPr>
            <p:cNvPr id="58" name="矩形 57"/>
            <p:cNvSpPr/>
            <p:nvPr/>
          </p:nvSpPr>
          <p:spPr bwMode="auto">
            <a:xfrm>
              <a:off x="2192931" y="5103236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选核</a:t>
              </a:r>
            </a:p>
          </p:txBody>
        </p:sp>
        <p:sp>
          <p:nvSpPr>
            <p:cNvPr id="59" name="矩形 58"/>
            <p:cNvSpPr/>
            <p:nvPr/>
          </p:nvSpPr>
          <p:spPr bwMode="auto">
            <a:xfrm>
              <a:off x="3371314" y="5103236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选任务</a:t>
              </a:r>
            </a:p>
          </p:txBody>
        </p:sp>
        <p:sp>
          <p:nvSpPr>
            <p:cNvPr id="60" name="矩形 59"/>
            <p:cNvSpPr/>
            <p:nvPr/>
          </p:nvSpPr>
          <p:spPr bwMode="auto">
            <a:xfrm>
              <a:off x="4536583" y="5103236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负载均衡</a:t>
              </a:r>
            </a:p>
          </p:txBody>
        </p:sp>
        <p:sp>
          <p:nvSpPr>
            <p:cNvPr id="61" name="矩形 60"/>
            <p:cNvSpPr/>
            <p:nvPr/>
          </p:nvSpPr>
          <p:spPr bwMode="auto">
            <a:xfrm>
              <a:off x="2201892" y="5427639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topo_helper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62" name="矩形 61"/>
            <p:cNvSpPr/>
            <p:nvPr/>
          </p:nvSpPr>
          <p:spPr bwMode="auto">
            <a:xfrm>
              <a:off x="3385520" y="5427639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load_helper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63" name="矩形 62"/>
            <p:cNvSpPr/>
            <p:nvPr/>
          </p:nvSpPr>
          <p:spPr bwMode="auto">
            <a:xfrm>
              <a:off x="4542809" y="5427639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tag_helper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64" name="矩形 63"/>
            <p:cNvSpPr/>
            <p:nvPr/>
          </p:nvSpPr>
          <p:spPr bwMode="auto">
            <a:xfrm>
              <a:off x="863875" y="2511902"/>
              <a:ext cx="5962714" cy="332284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2548341" y="4995368"/>
              <a:ext cx="442483" cy="2206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C00000"/>
                  </a:solidFill>
                  <a:latin typeface="FrutigerNext LT Regular" pitchFamily="34" charset="0"/>
                  <a:ea typeface="MS PGothic" pitchFamily="34" charset="-128"/>
                </a:rPr>
                <a:t>●</a:t>
              </a:r>
            </a:p>
          </p:txBody>
        </p:sp>
        <p:sp>
          <p:nvSpPr>
            <p:cNvPr id="66" name="矩形 65"/>
            <p:cNvSpPr/>
            <p:nvPr/>
          </p:nvSpPr>
          <p:spPr>
            <a:xfrm>
              <a:off x="4895419" y="4987406"/>
              <a:ext cx="442483" cy="2206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C00000"/>
                  </a:solidFill>
                  <a:latin typeface="FrutigerNext LT Regular" pitchFamily="34" charset="0"/>
                  <a:ea typeface="MS PGothic" pitchFamily="34" charset="-128"/>
                </a:rPr>
                <a:t>●</a:t>
              </a:r>
            </a:p>
          </p:txBody>
        </p:sp>
        <p:sp>
          <p:nvSpPr>
            <p:cNvPr id="67" name="矩形 66"/>
            <p:cNvSpPr/>
            <p:nvPr/>
          </p:nvSpPr>
          <p:spPr>
            <a:xfrm>
              <a:off x="2559333" y="5312067"/>
              <a:ext cx="461393" cy="2353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00" kern="0" dirty="0">
                  <a:solidFill>
                    <a:srgbClr val="0070C0"/>
                  </a:solidFill>
                  <a:latin typeface="FrutigerNext LT Regular" pitchFamily="34" charset="0"/>
                  <a:ea typeface="MS PGothic" pitchFamily="34" charset="-128"/>
                </a:rPr>
                <a:t>▲</a:t>
              </a:r>
            </a:p>
          </p:txBody>
        </p:sp>
        <p:sp>
          <p:nvSpPr>
            <p:cNvPr id="68" name="矩形 67"/>
            <p:cNvSpPr/>
            <p:nvPr/>
          </p:nvSpPr>
          <p:spPr>
            <a:xfrm>
              <a:off x="4909008" y="5311074"/>
              <a:ext cx="461393" cy="2353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00" kern="0" dirty="0">
                  <a:solidFill>
                    <a:srgbClr val="0070C0"/>
                  </a:solidFill>
                  <a:latin typeface="FrutigerNext LT Regular" pitchFamily="34" charset="0"/>
                  <a:ea typeface="MS PGothic" pitchFamily="34" charset="-128"/>
                </a:rPr>
                <a:t>▲</a:t>
              </a: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2071982" y="2566205"/>
              <a:ext cx="3571594" cy="269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基础调度策略库</a:t>
              </a: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(.lib)</a:t>
              </a:r>
              <a:endParaRPr lang="zh-CN" altLang="en-US" sz="11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70" name="矩形 69"/>
            <p:cNvSpPr/>
            <p:nvPr/>
          </p:nvSpPr>
          <p:spPr bwMode="auto">
            <a:xfrm>
              <a:off x="863874" y="1961415"/>
              <a:ext cx="1315945" cy="489029"/>
            </a:xfrm>
            <a:prstGeom prst="rect">
              <a:avLst/>
            </a:prstGeom>
            <a:noFill/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782405" y="2105486"/>
              <a:ext cx="1476928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调度策略</a:t>
              </a: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2209166" y="2105486"/>
              <a:ext cx="1727713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调度策略</a:t>
              </a: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3746214" y="2105486"/>
              <a:ext cx="1791505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调度策略</a:t>
              </a:r>
            </a:p>
          </p:txBody>
        </p:sp>
        <p:sp>
          <p:nvSpPr>
            <p:cNvPr id="74" name="矩形 73"/>
            <p:cNvSpPr/>
            <p:nvPr/>
          </p:nvSpPr>
          <p:spPr bwMode="auto">
            <a:xfrm>
              <a:off x="5714968" y="5103236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……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75" name="矩形 74"/>
            <p:cNvSpPr/>
            <p:nvPr/>
          </p:nvSpPr>
          <p:spPr bwMode="auto">
            <a:xfrm>
              <a:off x="5717203" y="5427639"/>
              <a:ext cx="1002472" cy="2450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……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76" name="矩形 75"/>
            <p:cNvSpPr/>
            <p:nvPr/>
          </p:nvSpPr>
          <p:spPr>
            <a:xfrm>
              <a:off x="6108289" y="4987406"/>
              <a:ext cx="442483" cy="2206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C00000"/>
                  </a:solidFill>
                  <a:latin typeface="FrutigerNext LT Regular" pitchFamily="34" charset="0"/>
                  <a:ea typeface="MS PGothic" pitchFamily="34" charset="-128"/>
                </a:rPr>
                <a:t>●</a:t>
              </a:r>
            </a:p>
          </p:txBody>
        </p:sp>
        <p:sp>
          <p:nvSpPr>
            <p:cNvPr id="78" name="矩形 77"/>
            <p:cNvSpPr/>
            <p:nvPr/>
          </p:nvSpPr>
          <p:spPr>
            <a:xfrm>
              <a:off x="3745272" y="4997371"/>
              <a:ext cx="442483" cy="2206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C00000"/>
                  </a:solidFill>
                  <a:latin typeface="FrutigerNext LT Regular" pitchFamily="34" charset="0"/>
                  <a:ea typeface="MS PGothic" pitchFamily="34" charset="-128"/>
                </a:rPr>
                <a:t>●</a:t>
              </a:r>
            </a:p>
          </p:txBody>
        </p:sp>
        <p:sp>
          <p:nvSpPr>
            <p:cNvPr id="79" name="矩形 78"/>
            <p:cNvSpPr/>
            <p:nvPr/>
          </p:nvSpPr>
          <p:spPr>
            <a:xfrm>
              <a:off x="6108291" y="5311074"/>
              <a:ext cx="461393" cy="2353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00" kern="0" dirty="0">
                  <a:solidFill>
                    <a:srgbClr val="0070C0"/>
                  </a:solidFill>
                  <a:latin typeface="FrutigerNext LT Regular" pitchFamily="34" charset="0"/>
                  <a:ea typeface="MS PGothic" pitchFamily="34" charset="-128"/>
                </a:rPr>
                <a:t>▲</a:t>
              </a:r>
            </a:p>
          </p:txBody>
        </p:sp>
        <p:sp>
          <p:nvSpPr>
            <p:cNvPr id="80" name="矩形 79"/>
            <p:cNvSpPr/>
            <p:nvPr/>
          </p:nvSpPr>
          <p:spPr>
            <a:xfrm>
              <a:off x="3755578" y="5311074"/>
              <a:ext cx="461393" cy="2353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00" kern="0" dirty="0">
                  <a:solidFill>
                    <a:srgbClr val="0070C0"/>
                  </a:solidFill>
                  <a:latin typeface="FrutigerNext LT Regular" pitchFamily="34" charset="0"/>
                  <a:ea typeface="MS PGothic" pitchFamily="34" charset="-128"/>
                </a:rPr>
                <a:t>▲</a:t>
              </a:r>
            </a:p>
          </p:txBody>
        </p:sp>
        <p:cxnSp>
          <p:nvCxnSpPr>
            <p:cNvPr id="81" name="直接箭头连接符 80"/>
            <p:cNvCxnSpPr/>
            <p:nvPr/>
          </p:nvCxnSpPr>
          <p:spPr bwMode="auto">
            <a:xfrm>
              <a:off x="5228980" y="3328580"/>
              <a:ext cx="0" cy="541273"/>
            </a:xfrm>
            <a:prstGeom prst="straightConnector1">
              <a:avLst/>
            </a:prstGeom>
            <a:noFill/>
            <a:ln w="1587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2" name="直接箭头连接符 81"/>
            <p:cNvCxnSpPr/>
            <p:nvPr/>
          </p:nvCxnSpPr>
          <p:spPr bwMode="auto">
            <a:xfrm flipV="1">
              <a:off x="2264310" y="3328581"/>
              <a:ext cx="0" cy="541274"/>
            </a:xfrm>
            <a:prstGeom prst="straightConnector1">
              <a:avLst/>
            </a:prstGeom>
            <a:noFill/>
            <a:ln w="1587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3" name="文本框 82"/>
            <p:cNvSpPr txBox="1"/>
            <p:nvPr/>
          </p:nvSpPr>
          <p:spPr>
            <a:xfrm>
              <a:off x="5228981" y="3535371"/>
              <a:ext cx="1714021" cy="264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03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dirty="0" err="1">
                  <a:solidFill>
                    <a:srgbClr val="000000"/>
                  </a:solidFill>
                  <a:latin typeface="Times New Roman" panose="02020603050405020304" pitchFamily="18" charset="0"/>
                  <a:ea typeface="MS PGothic" pitchFamily="34" charset="-128"/>
                  <a:cs typeface="Times New Roman" panose="02020603050405020304" pitchFamily="18" charset="0"/>
                </a:rPr>
                <a:t>syscall</a:t>
              </a:r>
              <a:r>
                <a:rPr lang="en-US" altLang="zh-CN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S PGothic" pitchFamily="34" charset="-128"/>
                  <a:cs typeface="Times New Roman" panose="02020603050405020304" pitchFamily="18" charset="0"/>
                </a:rPr>
                <a:t>/map</a:t>
              </a:r>
              <a:endParaRPr lang="zh-CN" altLang="en-US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85" name="文本框 84"/>
            <p:cNvSpPr txBox="1"/>
            <p:nvPr/>
          </p:nvSpPr>
          <p:spPr>
            <a:xfrm>
              <a:off x="2264310" y="3548009"/>
              <a:ext cx="1796593" cy="285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03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S PGothic" pitchFamily="34" charset="-128"/>
                  <a:cs typeface="Times New Roman" panose="02020603050405020304" pitchFamily="18" charset="0"/>
                </a:rPr>
                <a:t>event/map</a:t>
              </a:r>
              <a:endParaRPr lang="zh-CN" altLang="en-US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endParaRPr>
            </a:p>
          </p:txBody>
        </p:sp>
        <p:sp>
          <p:nvSpPr>
            <p:cNvPr id="86" name="矩形 85"/>
            <p:cNvSpPr/>
            <p:nvPr/>
          </p:nvSpPr>
          <p:spPr bwMode="auto">
            <a:xfrm>
              <a:off x="2414740" y="1961415"/>
              <a:ext cx="1315945" cy="489029"/>
            </a:xfrm>
            <a:prstGeom prst="rect">
              <a:avLst/>
            </a:prstGeom>
            <a:noFill/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87" name="矩形 86"/>
            <p:cNvSpPr/>
            <p:nvPr/>
          </p:nvSpPr>
          <p:spPr bwMode="auto">
            <a:xfrm>
              <a:off x="3965605" y="1961415"/>
              <a:ext cx="1315945" cy="489029"/>
            </a:xfrm>
            <a:prstGeom prst="rect">
              <a:avLst/>
            </a:prstGeom>
            <a:noFill/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88" name="矩形 87"/>
            <p:cNvSpPr/>
            <p:nvPr/>
          </p:nvSpPr>
          <p:spPr bwMode="auto">
            <a:xfrm>
              <a:off x="5516470" y="1961415"/>
              <a:ext cx="1315945" cy="489029"/>
            </a:xfrm>
            <a:prstGeom prst="rect">
              <a:avLst/>
            </a:prstGeom>
            <a:noFill/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89" name="文本框 88"/>
            <p:cNvSpPr txBox="1"/>
            <p:nvPr/>
          </p:nvSpPr>
          <p:spPr>
            <a:xfrm>
              <a:off x="5289315" y="2105486"/>
              <a:ext cx="1791505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……</a:t>
              </a:r>
              <a:endParaRPr lang="zh-CN" altLang="en-US" sz="11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90" name="矩形 89"/>
            <p:cNvSpPr/>
            <p:nvPr/>
          </p:nvSpPr>
          <p:spPr bwMode="auto">
            <a:xfrm>
              <a:off x="863874" y="2898964"/>
              <a:ext cx="5962715" cy="332284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ker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91" name="文本框 90"/>
            <p:cNvSpPr txBox="1"/>
            <p:nvPr/>
          </p:nvSpPr>
          <p:spPr>
            <a:xfrm>
              <a:off x="2083857" y="2952617"/>
              <a:ext cx="3571594" cy="25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66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可编程基础库</a:t>
              </a:r>
              <a:r>
                <a:rPr lang="en-US" altLang="zh-CN" sz="11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(tools)</a:t>
              </a:r>
              <a:endParaRPr lang="zh-CN" altLang="en-US" sz="11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92" name="矩形 91"/>
            <p:cNvSpPr/>
            <p:nvPr/>
          </p:nvSpPr>
          <p:spPr bwMode="auto">
            <a:xfrm>
              <a:off x="766072" y="4192773"/>
              <a:ext cx="6060516" cy="388355"/>
            </a:xfrm>
            <a:prstGeom prst="rect">
              <a:avLst/>
            </a:prstGeom>
            <a:solidFill>
              <a:srgbClr val="E5F1FE"/>
            </a:solidFill>
            <a:ln w="9525" cap="flat" cmpd="sng" algn="ctr">
              <a:solidFill>
                <a:srgbClr val="1D1D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368" tIns="45684" rIns="91368" bIns="45684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01046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标签管理</a:t>
              </a:r>
              <a:endParaRPr kumimoji="0" lang="en-US" altLang="zh-CN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0" marR="0" lvl="0" indent="0" algn="ctr" defTabSz="801046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（任务</a:t>
              </a:r>
              <a:r>
                <a:rPr lang="en-US" altLang="zh-CN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/</a:t>
              </a:r>
              <a:r>
                <a:rPr lang="zh-CN" altLang="en-US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进程</a:t>
              </a:r>
              <a:r>
                <a:rPr lang="en-US" altLang="zh-CN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/</a:t>
              </a:r>
              <a:r>
                <a:rPr lang="zh-CN" altLang="en-US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组</a:t>
              </a:r>
              <a:r>
                <a:rPr lang="en-US" altLang="zh-CN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/</a:t>
              </a:r>
              <a:r>
                <a:rPr lang="zh-CN" altLang="en-US" sz="900" kern="0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用户）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93" name="矩形 92"/>
            <p:cNvSpPr/>
            <p:nvPr/>
          </p:nvSpPr>
          <p:spPr bwMode="auto">
            <a:xfrm>
              <a:off x="781313" y="4830075"/>
              <a:ext cx="362928" cy="94121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5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存</a:t>
              </a:r>
            </a:p>
          </p:txBody>
        </p:sp>
        <p:sp>
          <p:nvSpPr>
            <p:cNvPr id="94" name="矩形 93"/>
            <p:cNvSpPr/>
            <p:nvPr/>
          </p:nvSpPr>
          <p:spPr bwMode="auto">
            <a:xfrm>
              <a:off x="1214695" y="4830075"/>
              <a:ext cx="362928" cy="94121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>
                <a:defRPr/>
              </a:pPr>
              <a:r>
                <a:rPr lang="zh-CN" altLang="en-US" sz="105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网络</a:t>
              </a:r>
            </a:p>
          </p:txBody>
        </p:sp>
        <p:sp>
          <p:nvSpPr>
            <p:cNvPr id="95" name="矩形 94"/>
            <p:cNvSpPr/>
            <p:nvPr/>
          </p:nvSpPr>
          <p:spPr bwMode="auto">
            <a:xfrm>
              <a:off x="1649625" y="4830075"/>
              <a:ext cx="362928" cy="94121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050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件系统</a:t>
              </a:r>
            </a:p>
          </p:txBody>
        </p:sp>
        <p:cxnSp>
          <p:nvCxnSpPr>
            <p:cNvPr id="96" name="直接箭头连接符 95"/>
            <p:cNvCxnSpPr>
              <a:endCxn id="93" idx="0"/>
            </p:cNvCxnSpPr>
            <p:nvPr/>
          </p:nvCxnSpPr>
          <p:spPr bwMode="auto">
            <a:xfrm>
              <a:off x="962777" y="4581128"/>
              <a:ext cx="0" cy="24894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none"/>
            </a:ln>
            <a:effectLst/>
          </p:spPr>
        </p:cxnSp>
        <p:cxnSp>
          <p:nvCxnSpPr>
            <p:cNvPr id="98" name="直接箭头连接符 97"/>
            <p:cNvCxnSpPr>
              <a:endCxn id="94" idx="0"/>
            </p:cNvCxnSpPr>
            <p:nvPr/>
          </p:nvCxnSpPr>
          <p:spPr bwMode="auto">
            <a:xfrm>
              <a:off x="1396159" y="4581128"/>
              <a:ext cx="0" cy="24894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none"/>
            </a:ln>
            <a:effectLst/>
          </p:spPr>
        </p:cxnSp>
        <p:cxnSp>
          <p:nvCxnSpPr>
            <p:cNvPr id="99" name="直接箭头连接符 98"/>
            <p:cNvCxnSpPr>
              <a:endCxn id="95" idx="0"/>
            </p:cNvCxnSpPr>
            <p:nvPr/>
          </p:nvCxnSpPr>
          <p:spPr bwMode="auto">
            <a:xfrm>
              <a:off x="1831089" y="4581128"/>
              <a:ext cx="0" cy="24894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none"/>
            </a:ln>
            <a:effectLst/>
          </p:spPr>
        </p:cxnSp>
        <p:cxnSp>
          <p:nvCxnSpPr>
            <p:cNvPr id="100" name="直接箭头连接符 99"/>
            <p:cNvCxnSpPr>
              <a:endCxn id="56" idx="0"/>
            </p:cNvCxnSpPr>
            <p:nvPr/>
          </p:nvCxnSpPr>
          <p:spPr bwMode="auto">
            <a:xfrm>
              <a:off x="4471727" y="4591318"/>
              <a:ext cx="0" cy="23875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101" name="矩形 100"/>
          <p:cNvSpPr/>
          <p:nvPr/>
        </p:nvSpPr>
        <p:spPr>
          <a:xfrm>
            <a:off x="5317438" y="6044057"/>
            <a:ext cx="702385" cy="253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6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900" kern="0" dirty="0">
                <a:solidFill>
                  <a:srgbClr val="C00000"/>
                </a:solidFill>
                <a:latin typeface="FrutigerNext LT Regular" pitchFamily="34" charset="0"/>
                <a:ea typeface="MS PGothic" pitchFamily="34" charset="-128"/>
              </a:rPr>
              <a:t>● </a:t>
            </a:r>
            <a:r>
              <a:rPr lang="en-US" altLang="zh-CN" sz="1050" kern="0" dirty="0">
                <a:solidFill>
                  <a:srgbClr val="C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hook</a:t>
            </a:r>
            <a:endParaRPr lang="zh-CN" altLang="en-US" sz="1050" kern="0" dirty="0">
              <a:solidFill>
                <a:srgbClr val="C00000"/>
              </a:solidFill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5977425" y="6044056"/>
            <a:ext cx="1231640" cy="26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6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srgbClr val="0070C0"/>
                </a:solidFill>
                <a:latin typeface="FrutigerNext LT Regular" pitchFamily="34" charset="0"/>
                <a:ea typeface="MS PGothic" pitchFamily="34" charset="-128"/>
              </a:rPr>
              <a:t>▲ </a:t>
            </a:r>
            <a:r>
              <a:rPr lang="en-US" altLang="zh-CN" sz="1100" kern="0" dirty="0">
                <a:solidFill>
                  <a:srgbClr val="0070C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export</a:t>
            </a:r>
            <a:endParaRPr lang="zh-CN" altLang="en-US" sz="1100" kern="0" dirty="0">
              <a:solidFill>
                <a:srgbClr val="0070C0"/>
              </a:solidFill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3" name="文本框 102"/>
          <p:cNvSpPr txBox="1"/>
          <p:nvPr/>
        </p:nvSpPr>
        <p:spPr>
          <a:xfrm>
            <a:off x="7488584" y="2387707"/>
            <a:ext cx="3864000" cy="2852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34" fontAlgn="base">
              <a:spcBef>
                <a:spcPct val="0"/>
              </a:spcBef>
              <a:spcAft>
                <a:spcPts val="60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可编程调度底座，提供基础系统调用，事件通知，数据共享机制与一致性保护，打通用户态与内核态，内核态组件之间信息通信。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034" fontAlgn="base">
              <a:spcBef>
                <a:spcPts val="600"/>
              </a:spcBef>
              <a:spcAft>
                <a:spcPts val="60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提供标签化管理机制，支持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任务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程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等对象的自定义标签扩展，支持用户态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核态，内核态组件之间协同调度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034">
              <a:lnSpc>
                <a:spcPts val="1798"/>
              </a:lnSpc>
              <a:spcBef>
                <a:spcPts val="600"/>
              </a:spcBef>
            </a:pPr>
            <a:r>
              <a: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剥离调度中的策略与机制，将策略层做为可扩展点暴露给用户态编程，提供丰富的辅助方法和数据支持，支持现有调度策略扩展，新增调度类，调度器移植等多种调度扩展能力；</a:t>
            </a:r>
            <a:endParaRPr lang="en-US" altLang="zh-CN" sz="11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034">
              <a:lnSpc>
                <a:spcPts val="1700"/>
              </a:lnSpc>
              <a:spcBef>
                <a:spcPts val="600"/>
              </a:spcBef>
            </a:pPr>
            <a:r>
              <a: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提供基础的库函数，支持用户快速编排</a:t>
            </a:r>
            <a:r>
              <a: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扩展，用户编程友好。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6622828" y="3413572"/>
            <a:ext cx="477377" cy="410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  <a:endParaRPr lang="zh-CN" alt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6629949" y="3662085"/>
            <a:ext cx="654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rnel</a:t>
            </a:r>
            <a:endParaRPr lang="zh-CN" alt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4580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90244" y="0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2799" dirty="0">
                <a:solidFill>
                  <a:schemeClr val="tx1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技术点</a:t>
            </a:r>
          </a:p>
        </p:txBody>
      </p:sp>
      <p:sp>
        <p:nvSpPr>
          <p:cNvPr id="67" name="内容占位符 2"/>
          <p:cNvSpPr>
            <a:spLocks noGrp="1"/>
          </p:cNvSpPr>
          <p:nvPr>
            <p:ph idx="1"/>
          </p:nvPr>
        </p:nvSpPr>
        <p:spPr>
          <a:xfrm>
            <a:off x="6790940" y="1325563"/>
            <a:ext cx="5214904" cy="456257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zh-CN" altLang="en-US" sz="17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点：</a:t>
            </a:r>
            <a:endParaRPr lang="en-US" altLang="zh-CN" sz="17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lang="en-US" altLang="zh-CN" sz="1600" b="1" dirty="0">
              <a:latin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sz="1400" b="1" dirty="0">
                <a:latin typeface="微软雅黑" panose="020B0503020204020204" pitchFamily="34" charset="-122"/>
              </a:rPr>
              <a:t>① </a:t>
            </a:r>
            <a:r>
              <a:rPr lang="zh-CN" altLang="en-US" sz="1400" b="1" dirty="0">
                <a:latin typeface="微软雅黑" panose="020B0503020204020204" pitchFamily="34" charset="-122"/>
              </a:rPr>
              <a:t>形式化验证</a:t>
            </a:r>
            <a:r>
              <a:rPr lang="en-US" altLang="zh-CN" sz="1400" b="1" dirty="0">
                <a:latin typeface="微软雅黑" panose="020B0503020204020204" pitchFamily="34" charset="-122"/>
              </a:rPr>
              <a:t>+</a:t>
            </a:r>
            <a:r>
              <a:rPr lang="zh-CN" altLang="en-US" sz="1400" b="1" dirty="0">
                <a:latin typeface="微软雅黑" panose="020B0503020204020204" pitchFamily="34" charset="-122"/>
              </a:rPr>
              <a:t>安全加载保障</a:t>
            </a:r>
            <a:r>
              <a:rPr lang="en-US" altLang="zh-CN" sz="1400" b="1" dirty="0" err="1">
                <a:latin typeface="微软雅黑" panose="020B0503020204020204" pitchFamily="34" charset="-122"/>
              </a:rPr>
              <a:t>prog</a:t>
            </a:r>
            <a:r>
              <a:rPr lang="zh-CN" altLang="en-US" sz="1400" b="1" dirty="0">
                <a:latin typeface="微软雅黑" panose="020B0503020204020204" pitchFamily="34" charset="-122"/>
              </a:rPr>
              <a:t>安全性</a:t>
            </a:r>
            <a:endParaRPr lang="en-US" altLang="zh-CN" sz="1400" b="1" dirty="0">
              <a:latin typeface="微软雅黑" panose="020B0503020204020204" pitchFamily="34" charset="-122"/>
            </a:endParaRPr>
          </a:p>
          <a:p>
            <a:pPr marL="0" indent="0">
              <a:lnSpc>
                <a:spcPts val="1800"/>
              </a:lnSpc>
              <a:buNone/>
            </a:pPr>
            <a:r>
              <a:rPr lang="en-US" altLang="zh-CN" sz="1600" dirty="0"/>
              <a:t>     </a:t>
            </a:r>
            <a:r>
              <a:rPr lang="zh-CN" altLang="en-US" sz="1200" dirty="0"/>
              <a:t>通过形式化验证，字节码签名校验，运行时上下文一致性保护，原子加载等机制保障可编程策略的安全性，做到安全动态加载。</a:t>
            </a:r>
            <a:endParaRPr lang="en-US" altLang="zh-CN" sz="1200" dirty="0"/>
          </a:p>
          <a:p>
            <a:pPr marL="0" indent="0">
              <a:spcBef>
                <a:spcPts val="1200"/>
              </a:spcBef>
              <a:buNone/>
            </a:pPr>
            <a:r>
              <a:rPr lang="zh-CN" altLang="zh-CN" sz="1400" b="1" dirty="0"/>
              <a:t>②</a:t>
            </a:r>
            <a:r>
              <a:rPr lang="en-US" altLang="zh-CN" sz="1400" b="1" dirty="0"/>
              <a:t> </a:t>
            </a:r>
            <a:r>
              <a:rPr lang="zh-CN" altLang="en-US" sz="1400" b="1" dirty="0"/>
              <a:t>管理组件</a:t>
            </a:r>
            <a:r>
              <a:rPr lang="en-US" altLang="zh-CN" sz="1400" b="1" dirty="0"/>
              <a:t>+</a:t>
            </a:r>
            <a:r>
              <a:rPr lang="zh-CN" altLang="en-US" sz="1400" b="1" dirty="0"/>
              <a:t>可编程</a:t>
            </a:r>
            <a:r>
              <a:rPr lang="en-US" altLang="zh-CN" sz="1400" b="1" dirty="0"/>
              <a:t>lib</a:t>
            </a:r>
            <a:r>
              <a:rPr lang="zh-CN" altLang="en-US" sz="1400" b="1" dirty="0"/>
              <a:t>库方便用户开发验证</a:t>
            </a:r>
            <a:endParaRPr lang="en-US" altLang="zh-CN" sz="1400" b="1" dirty="0"/>
          </a:p>
          <a:p>
            <a:pPr marL="0" indent="0">
              <a:lnSpc>
                <a:spcPts val="1800"/>
              </a:lnSpc>
              <a:buNone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提供可编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lib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库，支持多种高级语言和库函数，方便用户快速二次开发；提供管理组件，支持</a:t>
            </a:r>
            <a:r>
              <a:rPr lang="zh-CN" altLang="en-US" sz="1200" dirty="0">
                <a:latin typeface="微软雅黑" panose="020B0503020204020204" pitchFamily="34" charset="-122"/>
              </a:rPr>
              <a:t>代码扫描，自动化测试，策略</a:t>
            </a:r>
            <a:r>
              <a:rPr lang="zh-CN" altLang="en-US" sz="1200" dirty="0" smtClean="0">
                <a:latin typeface="微软雅黑" panose="020B0503020204020204" pitchFamily="34" charset="-122"/>
              </a:rPr>
              <a:t>推广等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zh-CN" altLang="zh-CN" sz="1400" b="1" dirty="0"/>
              <a:t>③</a:t>
            </a:r>
            <a:r>
              <a:rPr lang="en-US" altLang="zh-CN" sz="1400" b="1" dirty="0"/>
              <a:t> </a:t>
            </a:r>
            <a:r>
              <a:rPr lang="zh-CN" altLang="en-US" sz="1400" b="1" dirty="0"/>
              <a:t>标签化管理</a:t>
            </a:r>
            <a:endParaRPr lang="en-US" altLang="zh-CN" sz="1400" b="1" dirty="0"/>
          </a:p>
          <a:p>
            <a:pPr marL="0" indent="0">
              <a:buNone/>
            </a:pPr>
            <a:r>
              <a:rPr lang="en-US" altLang="zh-CN" sz="1600" dirty="0"/>
              <a:t>      </a:t>
            </a:r>
            <a:r>
              <a:rPr lang="zh-CN" altLang="en-US" sz="1200" dirty="0">
                <a:latin typeface="微软雅黑" panose="020B0503020204020204" pitchFamily="34" charset="-122"/>
              </a:rPr>
              <a:t>基于标签机制提供身份管理功能。</a:t>
            </a:r>
            <a:endParaRPr lang="en-US" altLang="zh-CN" sz="1200" dirty="0">
              <a:latin typeface="微软雅黑" panose="020B0503020204020204" pitchFamily="34" charset="-122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altLang="zh-CN" sz="1400" b="1" dirty="0"/>
              <a:t>④ </a:t>
            </a:r>
            <a:r>
              <a:rPr lang="zh-CN" altLang="en-US" sz="1400" b="1" dirty="0"/>
              <a:t>各系统提供机制</a:t>
            </a:r>
            <a:r>
              <a:rPr lang="en-US" altLang="zh-CN" sz="1400" b="1" dirty="0"/>
              <a:t>/</a:t>
            </a:r>
            <a:r>
              <a:rPr lang="zh-CN" altLang="en-US" sz="1400" b="1" dirty="0"/>
              <a:t>策略</a:t>
            </a:r>
            <a:endParaRPr lang="en-US" altLang="zh-CN" sz="1400" b="1" dirty="0"/>
          </a:p>
          <a:p>
            <a:pPr marL="0" indent="0">
              <a:lnSpc>
                <a:spcPts val="1800"/>
              </a:lnSpc>
              <a:buNone/>
            </a:pPr>
            <a:r>
              <a:rPr lang="zh-CN" altLang="en-US" sz="1200" dirty="0">
                <a:latin typeface="微软雅黑" panose="020B0503020204020204" pitchFamily="34" charset="-122"/>
              </a:rPr>
              <a:t>       各内核模块提供编程扩展接口和数据接口，提供可编程能力；整理版本兼容</a:t>
            </a:r>
            <a:r>
              <a:rPr lang="en-US" altLang="zh-CN" sz="1200" dirty="0">
                <a:latin typeface="微软雅黑" panose="020B0503020204020204" pitchFamily="34" charset="-122"/>
              </a:rPr>
              <a:t>KABI</a:t>
            </a:r>
            <a:r>
              <a:rPr lang="zh-CN" altLang="en-US" sz="1200" dirty="0">
                <a:latin typeface="微软雅黑" panose="020B0503020204020204" pitchFamily="34" charset="-122"/>
              </a:rPr>
              <a:t>和差异化接口，保障移植性和扩展性。</a:t>
            </a:r>
            <a:endParaRPr lang="en-US" altLang="zh-CN" sz="1200" dirty="0">
              <a:latin typeface="微软雅黑" panose="020B0503020204020204" pitchFamily="34" charset="-122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altLang="zh-CN" sz="1400" b="1" dirty="0"/>
              <a:t>⑤ CO-RE + </a:t>
            </a:r>
            <a:r>
              <a:rPr lang="zh-CN" altLang="en-US" sz="1400" b="1" dirty="0"/>
              <a:t>版本兼容</a:t>
            </a:r>
            <a:r>
              <a:rPr lang="en-US" altLang="zh-CN" sz="1400" b="1" dirty="0"/>
              <a:t>KABI</a:t>
            </a:r>
          </a:p>
          <a:p>
            <a:pPr marL="0" indent="0">
              <a:lnSpc>
                <a:spcPts val="1800"/>
              </a:lnSpc>
              <a:buNone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版本兼容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ABI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屏蔽结构体等变更差异，实现各内核版本二进制兼容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5" name="pic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5644" y="1145019"/>
            <a:ext cx="6278851" cy="507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6977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4154" y="381869"/>
            <a:ext cx="11318421" cy="653143"/>
          </a:xfrm>
        </p:spPr>
        <p:txBody>
          <a:bodyPr/>
          <a:lstStyle/>
          <a:p>
            <a:r>
              <a:rPr lang="zh-CN" altLang="en-US" dirty="0">
                <a:solidFill>
                  <a:schemeClr val="tx1"/>
                </a:solidFill>
              </a:rPr>
              <a:t>标签机制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d field s64 tag in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ruc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ask and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ruc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ask_group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interfaces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${you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pu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system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group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irectory}/${customized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group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}/tag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/proc/${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i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}/task/${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i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}/tag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lpers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d and write tag</a:t>
            </a:r>
          </a:p>
          <a:p>
            <a:pPr lvl="2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tg_tag_o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 /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task_tag_o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 /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set_tg_tag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 /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set_task_tag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ert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ntity to task o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ask_group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entity_to_task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 /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pf_sched_entity_to_tg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 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nefits/Use cases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ful to classify the task o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ask_group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ch as foreground and background tasks, online and offline tasks,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tc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lize coordinated scheduling between user-mode and kernel-mode, kernel subsystems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amples: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bp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: Add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bp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 preempt sample program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40177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38165" y="334735"/>
            <a:ext cx="11318421" cy="653143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j-lt"/>
              </a:rPr>
              <a:t>选核机制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238165" y="1577990"/>
            <a:ext cx="8546857" cy="4351338"/>
          </a:xfrm>
        </p:spPr>
        <p:txBody>
          <a:bodyPr/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oks</a:t>
            </a: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: programmable: Add hook for </a:t>
            </a:r>
            <a:r>
              <a:rPr lang="en-US" altLang="zh-CN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elect_task_rq_fair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fs_wake_affine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fs_select_rq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fs_select_rq_exit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elpers</a:t>
            </a: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bpf:programmabl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 Add four helper functions to get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cpu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tat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: programmable: Add helper function fo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cpu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topology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bpf:programmabl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: Add helpe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func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 to set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cpus_ptr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 in task</a:t>
            </a:r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enefits/Use cases</a:t>
            </a:r>
          </a:p>
          <a:p>
            <a:pPr marL="442913" indent="0">
              <a:buNone/>
            </a:pPr>
            <a:r>
              <a:rPr lang="en-US" altLang="zh-CN" dirty="0"/>
              <a:t>•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ful to implement the most preferred core-selecting policy based on the actual </a:t>
            </a: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enario</a:t>
            </a:r>
          </a:p>
          <a:p>
            <a:pPr marL="442913" indent="0">
              <a:buNone/>
            </a:pPr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• 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lement dynamic CPU affinity, such as adjust CPU affinity base on load o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til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samples:bp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: Add samples for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cf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 select core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798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16599" y="415526"/>
            <a:ext cx="6325385" cy="653143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+mj-lt"/>
              </a:rPr>
              <a:t>选任务机制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283672" y="2145000"/>
            <a:ext cx="6680349" cy="4351338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oks</a:t>
            </a: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: programmable: Add hook for pick next task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fs_tag_pick_next_entity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pass the logic of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ntity_befor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)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nefits/Use cases</a:t>
            </a:r>
          </a:p>
          <a:p>
            <a:pPr marL="728663" indent="-285750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d to controls higher-priority tasks to be placed on the left side of the red-black tree to ensure that they are executed first. 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</a:p>
          <a:p>
            <a:pPr lvl="1"/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amples: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bp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 Add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bpf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che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pick task sample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327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EDBEDB5-8596-FA37-F2DC-D059A06E9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来展望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115905CF-203B-0EE5-237C-F6807128E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5577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B814ECD2-080F-AE3F-DAAA-C069E9E32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  <p:grpSp>
        <p:nvGrpSpPr>
          <p:cNvPr id="28" name="组合 27">
            <a:extLst>
              <a:ext uri="{FF2B5EF4-FFF2-40B4-BE49-F238E27FC236}">
                <a16:creationId xmlns="" xmlns:a16="http://schemas.microsoft.com/office/drawing/2014/main" id="{7E0DD67E-5CBA-50CD-F02D-5C56EB595D3B}"/>
              </a:ext>
            </a:extLst>
          </p:cNvPr>
          <p:cNvGrpSpPr/>
          <p:nvPr/>
        </p:nvGrpSpPr>
        <p:grpSpPr>
          <a:xfrm>
            <a:off x="838200" y="1723199"/>
            <a:ext cx="872762" cy="872762"/>
            <a:chOff x="851263" y="1525581"/>
            <a:chExt cx="872762" cy="872762"/>
          </a:xfrm>
        </p:grpSpPr>
        <p:pic>
          <p:nvPicPr>
            <p:cNvPr id="29" name="图形 28">
              <a:extLst>
                <a:ext uri="{FF2B5EF4-FFF2-40B4-BE49-F238E27FC236}">
                  <a16:creationId xmlns="" xmlns:a16="http://schemas.microsoft.com/office/drawing/2014/main" id="{156274D5-7FE3-52C8-AAAB-23A5135FC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1263" y="1525581"/>
              <a:ext cx="872762" cy="872762"/>
            </a:xfrm>
            <a:prstGeom prst="rect">
              <a:avLst/>
            </a:prstGeom>
          </p:spPr>
        </p:pic>
        <p:sp>
          <p:nvSpPr>
            <p:cNvPr id="30" name="文本占位符 20">
              <a:extLst>
                <a:ext uri="{FF2B5EF4-FFF2-40B4-BE49-F238E27FC236}">
                  <a16:creationId xmlns="" xmlns:a16="http://schemas.microsoft.com/office/drawing/2014/main" id="{7F3345ED-DA9F-68E3-DEEA-18A5C2B8D8E7}"/>
                </a:ext>
              </a:extLst>
            </p:cNvPr>
            <p:cNvSpPr txBox="1">
              <a:spLocks/>
            </p:cNvSpPr>
            <p:nvPr/>
          </p:nvSpPr>
          <p:spPr>
            <a:xfrm>
              <a:off x="977583" y="1726427"/>
              <a:ext cx="620121" cy="471069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Source Han Sans CN Bold" panose="020B0500000000000000" pitchFamily="34" charset="-128"/>
                  <a:ea typeface="Source Han Sans CN Bold" panose="020B0500000000000000" pitchFamily="34" charset="-128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kumimoji="1" lang="en-US" altLang="zh-CN" dirty="0"/>
                <a:t>01</a:t>
              </a:r>
              <a:endParaRPr kumimoji="1" lang="zh-CN" altLang="en-US" dirty="0"/>
            </a:p>
          </p:txBody>
        </p:sp>
      </p:grpSp>
      <p:sp>
        <p:nvSpPr>
          <p:cNvPr id="31" name="文本框 30">
            <a:extLst>
              <a:ext uri="{FF2B5EF4-FFF2-40B4-BE49-F238E27FC236}">
                <a16:creationId xmlns="" xmlns:a16="http://schemas.microsoft.com/office/drawing/2014/main" id="{D0D07397-7F6F-C14F-0215-6EC7BC7C356E}"/>
              </a:ext>
            </a:extLst>
          </p:cNvPr>
          <p:cNvSpPr txBox="1"/>
          <p:nvPr/>
        </p:nvSpPr>
        <p:spPr>
          <a:xfrm>
            <a:off x="2037806" y="1867191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背景介绍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="" xmlns:a16="http://schemas.microsoft.com/office/drawing/2014/main" id="{DCA1DDA1-25FF-A6DA-D316-4374A522B606}"/>
              </a:ext>
            </a:extLst>
          </p:cNvPr>
          <p:cNvGrpSpPr/>
          <p:nvPr/>
        </p:nvGrpSpPr>
        <p:grpSpPr>
          <a:xfrm>
            <a:off x="838200" y="2796807"/>
            <a:ext cx="872762" cy="872762"/>
            <a:chOff x="851263" y="1525581"/>
            <a:chExt cx="872762" cy="872762"/>
          </a:xfrm>
        </p:grpSpPr>
        <p:pic>
          <p:nvPicPr>
            <p:cNvPr id="33" name="图形 32">
              <a:extLst>
                <a:ext uri="{FF2B5EF4-FFF2-40B4-BE49-F238E27FC236}">
                  <a16:creationId xmlns="" xmlns:a16="http://schemas.microsoft.com/office/drawing/2014/main" id="{5C8A9474-F776-B1EC-B117-00DA50C16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1263" y="1525581"/>
              <a:ext cx="872762" cy="872762"/>
            </a:xfrm>
            <a:prstGeom prst="rect">
              <a:avLst/>
            </a:prstGeom>
          </p:spPr>
        </p:pic>
        <p:sp>
          <p:nvSpPr>
            <p:cNvPr id="34" name="文本占位符 20">
              <a:extLst>
                <a:ext uri="{FF2B5EF4-FFF2-40B4-BE49-F238E27FC236}">
                  <a16:creationId xmlns="" xmlns:a16="http://schemas.microsoft.com/office/drawing/2014/main" id="{81C5AC3F-71FB-92C7-8EFD-F971B56AE156}"/>
                </a:ext>
              </a:extLst>
            </p:cNvPr>
            <p:cNvSpPr txBox="1">
              <a:spLocks/>
            </p:cNvSpPr>
            <p:nvPr/>
          </p:nvSpPr>
          <p:spPr>
            <a:xfrm>
              <a:off x="977583" y="1726427"/>
              <a:ext cx="620121" cy="471069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Source Han Sans CN Bold" panose="020B0500000000000000" pitchFamily="34" charset="-128"/>
                  <a:ea typeface="Source Han Sans CN Bold" panose="020B0500000000000000" pitchFamily="34" charset="-128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kumimoji="1" lang="en-US" altLang="zh-CN" dirty="0"/>
                <a:t>02</a:t>
              </a:r>
              <a:endParaRPr kumimoji="1" lang="zh-CN" altLang="en-US" dirty="0"/>
            </a:p>
          </p:txBody>
        </p:sp>
      </p:grpSp>
      <p:sp>
        <p:nvSpPr>
          <p:cNvPr id="35" name="文本框 34">
            <a:extLst>
              <a:ext uri="{FF2B5EF4-FFF2-40B4-BE49-F238E27FC236}">
                <a16:creationId xmlns="" xmlns:a16="http://schemas.microsoft.com/office/drawing/2014/main" id="{6ABC897D-5625-EBBE-7014-E9BD48DC32DE}"/>
              </a:ext>
            </a:extLst>
          </p:cNvPr>
          <p:cNvSpPr txBox="1"/>
          <p:nvPr/>
        </p:nvSpPr>
        <p:spPr>
          <a:xfrm>
            <a:off x="2037806" y="2940799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界调研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="" xmlns:a16="http://schemas.microsoft.com/office/drawing/2014/main" id="{A63C16B4-FE39-B171-E9A8-931993DA4EFE}"/>
              </a:ext>
            </a:extLst>
          </p:cNvPr>
          <p:cNvGrpSpPr/>
          <p:nvPr/>
        </p:nvGrpSpPr>
        <p:grpSpPr>
          <a:xfrm>
            <a:off x="838200" y="3870415"/>
            <a:ext cx="872762" cy="872762"/>
            <a:chOff x="851263" y="1525581"/>
            <a:chExt cx="872762" cy="872762"/>
          </a:xfrm>
        </p:grpSpPr>
        <p:pic>
          <p:nvPicPr>
            <p:cNvPr id="37" name="图形 36">
              <a:extLst>
                <a:ext uri="{FF2B5EF4-FFF2-40B4-BE49-F238E27FC236}">
                  <a16:creationId xmlns="" xmlns:a16="http://schemas.microsoft.com/office/drawing/2014/main" id="{00487FFF-A131-BD07-B00C-3F1847124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1263" y="1525581"/>
              <a:ext cx="872762" cy="872762"/>
            </a:xfrm>
            <a:prstGeom prst="rect">
              <a:avLst/>
            </a:prstGeom>
          </p:spPr>
        </p:pic>
        <p:sp>
          <p:nvSpPr>
            <p:cNvPr id="38" name="文本占位符 20">
              <a:extLst>
                <a:ext uri="{FF2B5EF4-FFF2-40B4-BE49-F238E27FC236}">
                  <a16:creationId xmlns="" xmlns:a16="http://schemas.microsoft.com/office/drawing/2014/main" id="{6EB86367-8C36-8A8F-0CE8-0154A2B58CB4}"/>
                </a:ext>
              </a:extLst>
            </p:cNvPr>
            <p:cNvSpPr txBox="1">
              <a:spLocks/>
            </p:cNvSpPr>
            <p:nvPr/>
          </p:nvSpPr>
          <p:spPr>
            <a:xfrm>
              <a:off x="977583" y="1726427"/>
              <a:ext cx="620121" cy="471069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Source Han Sans CN Bold" panose="020B0500000000000000" pitchFamily="34" charset="-128"/>
                  <a:ea typeface="Source Han Sans CN Bold" panose="020B0500000000000000" pitchFamily="34" charset="-128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kumimoji="1" lang="en-US" altLang="zh-CN" dirty="0"/>
                <a:t>03</a:t>
              </a:r>
              <a:endParaRPr kumimoji="1" lang="zh-CN" altLang="en-US" dirty="0"/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="" xmlns:a16="http://schemas.microsoft.com/office/drawing/2014/main" id="{13E839E6-B0F5-9F6E-060B-DACED72874F9}"/>
              </a:ext>
            </a:extLst>
          </p:cNvPr>
          <p:cNvSpPr txBox="1"/>
          <p:nvPr/>
        </p:nvSpPr>
        <p:spPr>
          <a:xfrm>
            <a:off x="2037806" y="4014407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方案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="" xmlns:a16="http://schemas.microsoft.com/office/drawing/2014/main" id="{A63C16B4-FE39-B171-E9A8-931993DA4EFE}"/>
              </a:ext>
            </a:extLst>
          </p:cNvPr>
          <p:cNvGrpSpPr/>
          <p:nvPr/>
        </p:nvGrpSpPr>
        <p:grpSpPr>
          <a:xfrm>
            <a:off x="838200" y="4850802"/>
            <a:ext cx="872762" cy="872762"/>
            <a:chOff x="851263" y="1525581"/>
            <a:chExt cx="872762" cy="872762"/>
          </a:xfrm>
        </p:grpSpPr>
        <p:pic>
          <p:nvPicPr>
            <p:cNvPr id="20" name="图形 36">
              <a:extLst>
                <a:ext uri="{FF2B5EF4-FFF2-40B4-BE49-F238E27FC236}">
                  <a16:creationId xmlns="" xmlns:a16="http://schemas.microsoft.com/office/drawing/2014/main" id="{00487FFF-A131-BD07-B00C-3F1847124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1263" y="1525581"/>
              <a:ext cx="872762" cy="872762"/>
            </a:xfrm>
            <a:prstGeom prst="rect">
              <a:avLst/>
            </a:prstGeom>
          </p:spPr>
        </p:pic>
        <p:sp>
          <p:nvSpPr>
            <p:cNvPr id="21" name="文本占位符 20">
              <a:extLst>
                <a:ext uri="{FF2B5EF4-FFF2-40B4-BE49-F238E27FC236}">
                  <a16:creationId xmlns="" xmlns:a16="http://schemas.microsoft.com/office/drawing/2014/main" id="{6EB86367-8C36-8A8F-0CE8-0154A2B58CB4}"/>
                </a:ext>
              </a:extLst>
            </p:cNvPr>
            <p:cNvSpPr txBox="1">
              <a:spLocks/>
            </p:cNvSpPr>
            <p:nvPr/>
          </p:nvSpPr>
          <p:spPr>
            <a:xfrm>
              <a:off x="977583" y="1726427"/>
              <a:ext cx="620121" cy="471069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Source Han Sans CN Bold" panose="020B0500000000000000" pitchFamily="34" charset="-128"/>
                  <a:ea typeface="Source Han Sans CN Bold" panose="020B0500000000000000" pitchFamily="34" charset="-128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Source Han Sans CN Regular" panose="020B0500000000000000" pitchFamily="34" charset="-128"/>
                  <a:ea typeface="Source Han Sans CN Regular" panose="020B0500000000000000" pitchFamily="34" charset="-128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kumimoji="1" lang="en-US" altLang="zh-CN" dirty="0"/>
                <a:t>04</a:t>
              </a:r>
              <a:endParaRPr kumimoji="1" lang="zh-CN" altLang="en-US" dirty="0"/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13E839E6-B0F5-9F6E-060B-DACED72874F9}"/>
              </a:ext>
            </a:extLst>
          </p:cNvPr>
          <p:cNvSpPr txBox="1"/>
          <p:nvPr/>
        </p:nvSpPr>
        <p:spPr>
          <a:xfrm>
            <a:off x="2037806" y="499479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来展望</a:t>
            </a:r>
          </a:p>
        </p:txBody>
      </p:sp>
    </p:spTree>
    <p:extLst>
      <p:ext uri="{BB962C8B-B14F-4D97-AF65-F5344CB8AC3E}">
        <p14:creationId xmlns:p14="http://schemas.microsoft.com/office/powerpoint/2010/main" val="38318439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2"/>
          <p:cNvSpPr txBox="1">
            <a:spLocks/>
          </p:cNvSpPr>
          <p:nvPr/>
        </p:nvSpPr>
        <p:spPr>
          <a:xfrm>
            <a:off x="1305861" y="488028"/>
            <a:ext cx="1195224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600" dirty="0">
                <a:solidFill>
                  <a:srgbClr val="333F50"/>
                </a:solidFill>
                <a:cs typeface="+mj-cs"/>
              </a:rPr>
              <a:t>后续计划</a:t>
            </a:r>
          </a:p>
        </p:txBody>
      </p:sp>
      <p:sp>
        <p:nvSpPr>
          <p:cNvPr id="92" name="矩形 91"/>
          <p:cNvSpPr/>
          <p:nvPr/>
        </p:nvSpPr>
        <p:spPr bwMode="auto">
          <a:xfrm>
            <a:off x="447149" y="3026162"/>
            <a:ext cx="7582007" cy="2833098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1367">
              <a:defRPr/>
            </a:pPr>
            <a:endParaRPr lang="zh-CN" altLang="en-US" sz="1200" ker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cxnSp>
        <p:nvCxnSpPr>
          <p:cNvPr id="93" name="直接连接符 92"/>
          <p:cNvCxnSpPr/>
          <p:nvPr/>
        </p:nvCxnSpPr>
        <p:spPr bwMode="auto">
          <a:xfrm>
            <a:off x="467340" y="2898788"/>
            <a:ext cx="7668323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矩形 94"/>
          <p:cNvSpPr/>
          <p:nvPr/>
        </p:nvSpPr>
        <p:spPr bwMode="auto">
          <a:xfrm>
            <a:off x="3898625" y="2234888"/>
            <a:ext cx="4110619" cy="536943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1367">
              <a:defRPr/>
            </a:pPr>
            <a:endParaRPr lang="zh-CN" altLang="en-US" sz="1200" ker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96" name="文本框 95"/>
          <p:cNvSpPr txBox="1"/>
          <p:nvPr/>
        </p:nvSpPr>
        <p:spPr>
          <a:xfrm>
            <a:off x="1462820" y="3071824"/>
            <a:ext cx="5255980" cy="338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34">
              <a:defRPr/>
            </a:pPr>
            <a:r>
              <a:rPr lang="en-US" altLang="zh-CN" sz="1599" b="1" kern="0" dirty="0">
                <a:solidFill>
                  <a:srgbClr val="000000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Kernel programmable scheduler framework</a:t>
            </a:r>
            <a:endParaRPr lang="zh-CN" altLang="en-US" sz="1599" b="1" kern="0" dirty="0">
              <a:solidFill>
                <a:srgbClr val="000000"/>
              </a:solidFill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3865800" y="2329866"/>
            <a:ext cx="3977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34"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基础调度策略库</a:t>
            </a:r>
            <a:endParaRPr lang="zh-CN" altLang="en-US" sz="1400" b="1" kern="0" dirty="0">
              <a:solidFill>
                <a:srgbClr val="000000"/>
              </a:solidFill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98" name="矩形 97"/>
          <p:cNvSpPr/>
          <p:nvPr/>
        </p:nvSpPr>
        <p:spPr bwMode="auto">
          <a:xfrm>
            <a:off x="447148" y="1514399"/>
            <a:ext cx="1821050" cy="634432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spcAft>
                <a:spcPts val="600"/>
              </a:spcAft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XX</a:t>
            </a: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场景 高吞吐</a:t>
            </a:r>
            <a:r>
              <a:rPr lang="en-US" altLang="zh-CN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&amp;</a:t>
            </a: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低负载</a:t>
            </a:r>
            <a:endParaRPr lang="en-US" altLang="zh-CN" sz="12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0" name="矩形 99"/>
          <p:cNvSpPr/>
          <p:nvPr/>
        </p:nvSpPr>
        <p:spPr bwMode="auto">
          <a:xfrm>
            <a:off x="6276174" y="3103898"/>
            <a:ext cx="1533626" cy="284841"/>
          </a:xfrm>
          <a:prstGeom prst="rect">
            <a:avLst/>
          </a:prstGeom>
          <a:solidFill>
            <a:srgbClr val="FFCC66">
              <a:lumMod val="40000"/>
              <a:lumOff val="6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defRPr/>
            </a:pPr>
            <a:r>
              <a:rPr lang="zh-CN" alt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编程调度框架</a:t>
            </a:r>
          </a:p>
        </p:txBody>
      </p:sp>
      <p:sp>
        <p:nvSpPr>
          <p:cNvPr id="101" name="矩形 100"/>
          <p:cNvSpPr/>
          <p:nvPr/>
        </p:nvSpPr>
        <p:spPr bwMode="auto">
          <a:xfrm>
            <a:off x="455274" y="6080460"/>
            <a:ext cx="1805741" cy="26453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801367"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rPr>
              <a:t>NUMA</a:t>
            </a:r>
            <a:endParaRPr lang="zh-CN" altLang="en-US" sz="1200" kern="0" dirty="0">
              <a:solidFill>
                <a:srgbClr val="000000"/>
              </a:solidFill>
              <a:latin typeface="Times New Roman" panose="02020603050405020304" pitchFamily="18" charset="0"/>
              <a:ea typeface="ＭＳ Ｐゴシック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2" name="矩形 101"/>
          <p:cNvSpPr/>
          <p:nvPr/>
        </p:nvSpPr>
        <p:spPr bwMode="auto">
          <a:xfrm>
            <a:off x="2376524" y="6080459"/>
            <a:ext cx="1805741" cy="26453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801367"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rPr>
              <a:t>AMP</a:t>
            </a:r>
            <a:endParaRPr lang="zh-CN" altLang="en-US" sz="1200" kern="0" dirty="0">
              <a:solidFill>
                <a:srgbClr val="000000"/>
              </a:solidFill>
              <a:latin typeface="Times New Roman" panose="02020603050405020304" pitchFamily="18" charset="0"/>
              <a:ea typeface="ＭＳ Ｐゴシック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3" name="矩形 102"/>
          <p:cNvSpPr/>
          <p:nvPr/>
        </p:nvSpPr>
        <p:spPr bwMode="auto">
          <a:xfrm>
            <a:off x="4297775" y="6080460"/>
            <a:ext cx="1805741" cy="26453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801367"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rPr>
              <a:t>SMP</a:t>
            </a:r>
            <a:endParaRPr lang="zh-CN" altLang="en-US" sz="1200" kern="0" dirty="0">
              <a:solidFill>
                <a:srgbClr val="000000"/>
              </a:solidFill>
              <a:latin typeface="Times New Roman" panose="02020603050405020304" pitchFamily="18" charset="0"/>
              <a:ea typeface="ＭＳ Ｐゴシック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4" name="矩形 103"/>
          <p:cNvSpPr/>
          <p:nvPr/>
        </p:nvSpPr>
        <p:spPr bwMode="auto">
          <a:xfrm>
            <a:off x="6219025" y="6080459"/>
            <a:ext cx="1805741" cy="26453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801367"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rPr>
              <a:t>SMT</a:t>
            </a:r>
            <a:endParaRPr lang="zh-CN" altLang="en-US" sz="1200" kern="0" dirty="0">
              <a:solidFill>
                <a:srgbClr val="000000"/>
              </a:solidFill>
              <a:latin typeface="Times New Roman" panose="02020603050405020304" pitchFamily="18" charset="0"/>
              <a:ea typeface="ＭＳ Ｐゴシック" pitchFamily="34" charset="-128"/>
              <a:cs typeface="Times New Roman" panose="02020603050405020304" pitchFamily="18" charset="0"/>
            </a:endParaRPr>
          </a:p>
        </p:txBody>
      </p:sp>
      <p:sp>
        <p:nvSpPr>
          <p:cNvPr id="140" name="矩形 139"/>
          <p:cNvSpPr/>
          <p:nvPr/>
        </p:nvSpPr>
        <p:spPr bwMode="auto">
          <a:xfrm>
            <a:off x="2357983" y="1514399"/>
            <a:ext cx="1821050" cy="634432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spcAft>
                <a:spcPts val="600"/>
              </a:spcAft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XX</a:t>
            </a: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场景  性能</a:t>
            </a:r>
            <a:r>
              <a:rPr lang="en-US" altLang="zh-CN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&amp;</a:t>
            </a: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功耗</a:t>
            </a:r>
            <a:endParaRPr lang="en-US" altLang="zh-CN" sz="12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1" name="矩形 140"/>
          <p:cNvSpPr/>
          <p:nvPr/>
        </p:nvSpPr>
        <p:spPr bwMode="auto">
          <a:xfrm>
            <a:off x="4268818" y="1514399"/>
            <a:ext cx="1821050" cy="634432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spcAft>
                <a:spcPts val="600"/>
              </a:spcAft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XX</a:t>
            </a: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场景 资源隔离</a:t>
            </a:r>
            <a:endParaRPr lang="en-US" altLang="zh-CN" sz="12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2" name="矩形 141"/>
          <p:cNvSpPr/>
          <p:nvPr/>
        </p:nvSpPr>
        <p:spPr bwMode="auto">
          <a:xfrm>
            <a:off x="6179652" y="1514399"/>
            <a:ext cx="1821050" cy="634432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spcAft>
                <a:spcPts val="600"/>
              </a:spcAft>
              <a:defRPr/>
            </a:pPr>
            <a:r>
              <a: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其他场景</a:t>
            </a:r>
            <a:endParaRPr lang="en-US" altLang="zh-CN" sz="12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矩形 2"/>
          <p:cNvSpPr/>
          <p:nvPr/>
        </p:nvSpPr>
        <p:spPr bwMode="auto">
          <a:xfrm>
            <a:off x="853413" y="4241254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ry_to_wake_up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3" name="矩形 52"/>
          <p:cNvSpPr/>
          <p:nvPr/>
        </p:nvSpPr>
        <p:spPr bwMode="auto">
          <a:xfrm>
            <a:off x="2266655" y="4241254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elect_task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4" name="矩形 53"/>
          <p:cNvSpPr/>
          <p:nvPr/>
        </p:nvSpPr>
        <p:spPr bwMode="auto">
          <a:xfrm>
            <a:off x="3686109" y="4241254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nqueue_task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5" name="矩形 54"/>
          <p:cNvSpPr/>
          <p:nvPr/>
        </p:nvSpPr>
        <p:spPr bwMode="auto">
          <a:xfrm>
            <a:off x="5093140" y="4241254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update_load_av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6" name="矩形 55"/>
          <p:cNvSpPr/>
          <p:nvPr/>
        </p:nvSpPr>
        <p:spPr bwMode="auto">
          <a:xfrm>
            <a:off x="6506383" y="4241254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pufreq_updat_util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矩形 67"/>
          <p:cNvSpPr/>
          <p:nvPr/>
        </p:nvSpPr>
        <p:spPr bwMode="auto">
          <a:xfrm>
            <a:off x="2266655" y="4608292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chedule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859624" y="4608191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eck_preempt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矩形 138"/>
          <p:cNvSpPr/>
          <p:nvPr/>
        </p:nvSpPr>
        <p:spPr bwMode="auto">
          <a:xfrm>
            <a:off x="3686109" y="4608292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ick_next_task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6" name="矩形 145"/>
          <p:cNvSpPr/>
          <p:nvPr/>
        </p:nvSpPr>
        <p:spPr bwMode="auto">
          <a:xfrm>
            <a:off x="5093140" y="4608292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dle_balance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7" name="矩形 146"/>
          <p:cNvSpPr/>
          <p:nvPr/>
        </p:nvSpPr>
        <p:spPr bwMode="auto">
          <a:xfrm>
            <a:off x="6506383" y="4608292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oad_balance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8" name="矩形 147"/>
          <p:cNvSpPr/>
          <p:nvPr/>
        </p:nvSpPr>
        <p:spPr bwMode="auto">
          <a:xfrm>
            <a:off x="853413" y="4975130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edule_tick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9" name="矩形 148"/>
          <p:cNvSpPr/>
          <p:nvPr/>
        </p:nvSpPr>
        <p:spPr bwMode="auto">
          <a:xfrm>
            <a:off x="2266656" y="497795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it_to_user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矩形 149"/>
          <p:cNvSpPr/>
          <p:nvPr/>
        </p:nvSpPr>
        <p:spPr bwMode="auto">
          <a:xfrm>
            <a:off x="2305128" y="356493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group_ta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1" name="矩形 150"/>
          <p:cNvSpPr/>
          <p:nvPr/>
        </p:nvSpPr>
        <p:spPr bwMode="auto">
          <a:xfrm>
            <a:off x="3718371" y="356493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rocess_ta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2" name="矩形 151"/>
          <p:cNvSpPr/>
          <p:nvPr/>
        </p:nvSpPr>
        <p:spPr bwMode="auto">
          <a:xfrm>
            <a:off x="5126133" y="356493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ask_ta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4" name="矩形 153"/>
          <p:cNvSpPr/>
          <p:nvPr/>
        </p:nvSpPr>
        <p:spPr bwMode="auto">
          <a:xfrm>
            <a:off x="3686109" y="498608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ched_fork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5" name="矩形 154"/>
          <p:cNvSpPr/>
          <p:nvPr/>
        </p:nvSpPr>
        <p:spPr bwMode="auto">
          <a:xfrm>
            <a:off x="5094129" y="498608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it_util_avg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6" name="矩形 155"/>
          <p:cNvSpPr/>
          <p:nvPr/>
        </p:nvSpPr>
        <p:spPr bwMode="auto">
          <a:xfrm>
            <a:off x="447148" y="2234886"/>
            <a:ext cx="3351856" cy="536945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1367">
              <a:defRPr/>
            </a:pPr>
            <a:endParaRPr lang="zh-CN" altLang="en-US" sz="1200" ker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157" name="文本框 156"/>
          <p:cNvSpPr txBox="1"/>
          <p:nvPr/>
        </p:nvSpPr>
        <p:spPr>
          <a:xfrm>
            <a:off x="560595" y="2317580"/>
            <a:ext cx="2837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34"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第三方中间件</a:t>
            </a:r>
          </a:p>
        </p:txBody>
      </p:sp>
      <p:sp>
        <p:nvSpPr>
          <p:cNvPr id="158" name="矩形 157"/>
          <p:cNvSpPr/>
          <p:nvPr/>
        </p:nvSpPr>
        <p:spPr bwMode="auto">
          <a:xfrm>
            <a:off x="631417" y="4112299"/>
            <a:ext cx="7199890" cy="1261516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1367">
              <a:defRPr/>
            </a:pPr>
            <a:endParaRPr lang="zh-CN" altLang="en-US" sz="1200" ker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159" name="矩形 158"/>
          <p:cNvSpPr/>
          <p:nvPr/>
        </p:nvSpPr>
        <p:spPr bwMode="auto">
          <a:xfrm>
            <a:off x="2168844" y="3477266"/>
            <a:ext cx="5662463" cy="421538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01367">
              <a:defRPr/>
            </a:pPr>
            <a:endParaRPr lang="zh-CN" altLang="en-US" sz="1200" ker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160" name="矩形 159"/>
          <p:cNvSpPr/>
          <p:nvPr/>
        </p:nvSpPr>
        <p:spPr bwMode="auto">
          <a:xfrm>
            <a:off x="6546012" y="356493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cpu_ta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1" name="矩形 160"/>
          <p:cNvSpPr/>
          <p:nvPr/>
        </p:nvSpPr>
        <p:spPr bwMode="auto">
          <a:xfrm>
            <a:off x="6502997" y="4986085"/>
            <a:ext cx="1093436" cy="256274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zh-CN" sz="9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ed_init</a:t>
            </a:r>
            <a:endParaRPr lang="en-US" altLang="zh-CN" sz="9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2" name="矩形 161"/>
          <p:cNvSpPr/>
          <p:nvPr/>
        </p:nvSpPr>
        <p:spPr bwMode="auto">
          <a:xfrm>
            <a:off x="631416" y="3477266"/>
            <a:ext cx="1395822" cy="4215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169" tIns="39585" rIns="79169" bIns="3958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1367">
              <a:defRPr/>
            </a:pPr>
            <a:r>
              <a:rPr lang="en-US" altLang="zh-CN" sz="1200" kern="0" dirty="0" err="1"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rPr>
              <a:t>Syscall</a:t>
            </a:r>
            <a:endParaRPr lang="zh-CN" altLang="en-US" sz="1200" kern="0" dirty="0">
              <a:latin typeface="Times New Roman" panose="02020603050405020304" pitchFamily="18" charset="0"/>
              <a:ea typeface="ＭＳ Ｐゴシック" pitchFamily="34" charset="-128"/>
              <a:cs typeface="Times New Roman" panose="02020603050405020304" pitchFamily="18" charset="0"/>
            </a:endParaRPr>
          </a:p>
        </p:txBody>
      </p:sp>
      <p:cxnSp>
        <p:nvCxnSpPr>
          <p:cNvPr id="46" name="直接箭头连接符 45"/>
          <p:cNvCxnSpPr>
            <a:stCxn id="162" idx="3"/>
            <a:endCxn id="159" idx="1"/>
          </p:cNvCxnSpPr>
          <p:nvPr/>
        </p:nvCxnSpPr>
        <p:spPr bwMode="auto">
          <a:xfrm>
            <a:off x="2027238" y="3688035"/>
            <a:ext cx="1416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9" name="直接箭头连接符 48"/>
          <p:cNvCxnSpPr>
            <a:stCxn id="162" idx="2"/>
          </p:cNvCxnSpPr>
          <p:nvPr/>
        </p:nvCxnSpPr>
        <p:spPr bwMode="auto">
          <a:xfrm>
            <a:off x="1329327" y="3898803"/>
            <a:ext cx="0" cy="2134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3" name="矩形 62"/>
          <p:cNvSpPr/>
          <p:nvPr/>
        </p:nvSpPr>
        <p:spPr bwMode="auto">
          <a:xfrm>
            <a:off x="631417" y="5502853"/>
            <a:ext cx="7199890" cy="27959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endParaRPr lang="zh-CN" altLang="en-US" sz="9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839257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isolation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3" name="矩形 162"/>
          <p:cNvSpPr/>
          <p:nvPr/>
        </p:nvSpPr>
        <p:spPr bwMode="auto">
          <a:xfrm>
            <a:off x="2013003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hotplug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4" name="矩形 163"/>
          <p:cNvSpPr/>
          <p:nvPr/>
        </p:nvSpPr>
        <p:spPr bwMode="auto">
          <a:xfrm>
            <a:off x="3186748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ignal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5" name="矩形 164"/>
          <p:cNvSpPr/>
          <p:nvPr/>
        </p:nvSpPr>
        <p:spPr bwMode="auto">
          <a:xfrm>
            <a:off x="5534239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ower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6" name="矩形 165"/>
          <p:cNvSpPr/>
          <p:nvPr/>
        </p:nvSpPr>
        <p:spPr bwMode="auto">
          <a:xfrm>
            <a:off x="6707987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hemal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78" name="文本框 177"/>
          <p:cNvSpPr txBox="1"/>
          <p:nvPr/>
        </p:nvSpPr>
        <p:spPr>
          <a:xfrm>
            <a:off x="8434947" y="2436975"/>
            <a:ext cx="321265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划：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支持新增调度类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与内核其他模块联动，如网络，内存，锁，中断，信号，能基于一个场景编写完整的解决方案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与用户态调度框架协同，基于外界信息动态调整策略，实现动态策略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丰富用户态的策略库，支持编程友好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矩形 63"/>
          <p:cNvSpPr/>
          <p:nvPr/>
        </p:nvSpPr>
        <p:spPr bwMode="auto">
          <a:xfrm>
            <a:off x="4360494" y="5544293"/>
            <a:ext cx="957937" cy="195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/>
            <a:r>
              <a:rPr lang="en-US" altLang="zh-CN" sz="9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futex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70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57008" y="63814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态建设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398159" y="1078404"/>
            <a:ext cx="8464519" cy="5184576"/>
            <a:chOff x="367785" y="980728"/>
            <a:chExt cx="7693519" cy="4694228"/>
          </a:xfrm>
        </p:grpSpPr>
        <p:sp>
          <p:nvSpPr>
            <p:cNvPr id="46" name="文本框 45"/>
            <p:cNvSpPr txBox="1"/>
            <p:nvPr/>
          </p:nvSpPr>
          <p:spPr>
            <a:xfrm>
              <a:off x="734705" y="1762230"/>
              <a:ext cx="903147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b="1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开发</a:t>
              </a: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367785" y="2906475"/>
              <a:ext cx="1633623" cy="93871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b="1" dirty="0">
                  <a:solidFill>
                    <a:srgbClr val="336699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简单高效开发</a:t>
              </a:r>
              <a:endParaRPr lang="en-US" altLang="zh-CN" sz="1400" b="1" dirty="0">
                <a:solidFill>
                  <a:srgbClr val="336699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持高级语言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丰富的基础库</a:t>
              </a: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2848771" y="2295162"/>
              <a:ext cx="2311125" cy="65659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b="1" dirty="0">
                  <a:solidFill>
                    <a:srgbClr val="336699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快速部署，缩短验证周期</a:t>
              </a:r>
              <a:endParaRPr lang="en-US" altLang="zh-CN" sz="1400" b="1" dirty="0">
                <a:solidFill>
                  <a:srgbClr val="336699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持热升级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9127" y="2256344"/>
              <a:ext cx="774306" cy="610300"/>
            </a:xfrm>
            <a:prstGeom prst="rect">
              <a:avLst/>
            </a:prstGeom>
          </p:spPr>
        </p:pic>
        <p:cxnSp>
          <p:nvCxnSpPr>
            <p:cNvPr id="50" name="直接箭头连接符 49"/>
            <p:cNvCxnSpPr/>
            <p:nvPr/>
          </p:nvCxnSpPr>
          <p:spPr>
            <a:xfrm flipV="1">
              <a:off x="1786408" y="2155734"/>
              <a:ext cx="1022902" cy="712995"/>
            </a:xfrm>
            <a:prstGeom prst="straightConnector1">
              <a:avLst/>
            </a:prstGeom>
            <a:noFill/>
            <a:ln w="28575" cap="flat" cmpd="sng" algn="ctr">
              <a:solidFill>
                <a:srgbClr val="336699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pic>
          <p:nvPicPr>
            <p:cNvPr id="51" name="图片 5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12563" y="1441617"/>
              <a:ext cx="1386867" cy="791927"/>
            </a:xfrm>
            <a:prstGeom prst="rect">
              <a:avLst/>
            </a:prstGeom>
          </p:spPr>
        </p:pic>
        <p:sp>
          <p:nvSpPr>
            <p:cNvPr id="52" name="文本框 51"/>
            <p:cNvSpPr txBox="1"/>
            <p:nvPr/>
          </p:nvSpPr>
          <p:spPr>
            <a:xfrm rot="19278711">
              <a:off x="1440935" y="2088244"/>
              <a:ext cx="1381255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部署 </a:t>
              </a:r>
              <a:r>
                <a:rPr lang="en-US" altLang="zh-CN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prog</a:t>
              </a:r>
              <a:endPara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pic>
          <p:nvPicPr>
            <p:cNvPr id="53" name="图片 5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47728" y="3638816"/>
              <a:ext cx="1456334" cy="1116525"/>
            </a:xfrm>
            <a:prstGeom prst="rect">
              <a:avLst/>
            </a:prstGeom>
          </p:spPr>
        </p:pic>
        <p:sp>
          <p:nvSpPr>
            <p:cNvPr id="54" name="文本框 53"/>
            <p:cNvSpPr txBox="1"/>
            <p:nvPr/>
          </p:nvSpPr>
          <p:spPr>
            <a:xfrm>
              <a:off x="3863752" y="3209962"/>
              <a:ext cx="903147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b="1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发布</a:t>
              </a: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6846624" y="4609514"/>
              <a:ext cx="903147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b="1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部署</a:t>
              </a:r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3575720" y="4695495"/>
              <a:ext cx="1428574" cy="93871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b="1" dirty="0">
                  <a:solidFill>
                    <a:srgbClr val="336699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安全可靠</a:t>
              </a:r>
              <a:endPara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数字签名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en-US" altLang="zh-CN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rog</a:t>
              </a: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商店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5171482" y="4431573"/>
              <a:ext cx="1428574" cy="2640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400" dirty="0">
                  <a:solidFill>
                    <a:srgbClr val="00000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pull</a:t>
              </a:r>
            </a:p>
          </p:txBody>
        </p:sp>
        <p:sp>
          <p:nvSpPr>
            <p:cNvPr id="58" name="文本框 57"/>
            <p:cNvSpPr txBox="1"/>
            <p:nvPr/>
          </p:nvSpPr>
          <p:spPr>
            <a:xfrm>
              <a:off x="6384032" y="5052285"/>
              <a:ext cx="1677272" cy="6226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持安全验证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85750" indent="-285750" algn="ctr" defTabSz="914478" fontAlgn="auto">
                <a:lnSpc>
                  <a:spcPts val="2200"/>
                </a:lnSpc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l"/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在线无缝部署</a:t>
              </a:r>
              <a:endPara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59" name="直接箭头连接符 58"/>
            <p:cNvCxnSpPr/>
            <p:nvPr/>
          </p:nvCxnSpPr>
          <p:spPr>
            <a:xfrm>
              <a:off x="1786408" y="2977444"/>
              <a:ext cx="1910258" cy="995018"/>
            </a:xfrm>
            <a:prstGeom prst="straightConnector1">
              <a:avLst/>
            </a:prstGeom>
            <a:noFill/>
            <a:ln w="25400" cap="flat" cmpd="sng" algn="ctr">
              <a:solidFill>
                <a:srgbClr val="336699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60" name="文本框 59"/>
            <p:cNvSpPr txBox="1"/>
            <p:nvPr/>
          </p:nvSpPr>
          <p:spPr>
            <a:xfrm rot="1630953">
              <a:off x="2185585" y="3003106"/>
              <a:ext cx="1381255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发布</a:t>
              </a:r>
              <a:r>
                <a:rPr lang="en-US" altLang="zh-CN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prog</a:t>
              </a:r>
              <a:endPara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pic>
          <p:nvPicPr>
            <p:cNvPr id="61" name="图片 6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>
              <a:off x="6490733" y="3850315"/>
              <a:ext cx="1520160" cy="931961"/>
            </a:xfrm>
            <a:prstGeom prst="rect">
              <a:avLst/>
            </a:prstGeom>
          </p:spPr>
        </p:pic>
        <p:pic>
          <p:nvPicPr>
            <p:cNvPr id="62" name="图片 6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16514" y="2371243"/>
              <a:ext cx="810659" cy="674700"/>
            </a:xfrm>
            <a:prstGeom prst="rect">
              <a:avLst/>
            </a:prstGeom>
          </p:spPr>
        </p:pic>
        <p:sp>
          <p:nvSpPr>
            <p:cNvPr id="63" name="文本框 62"/>
            <p:cNvSpPr txBox="1"/>
            <p:nvPr/>
          </p:nvSpPr>
          <p:spPr>
            <a:xfrm>
              <a:off x="5624901" y="3874756"/>
              <a:ext cx="903147" cy="462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推广</a:t>
              </a:r>
              <a:endParaRPr lang="zh-CN" altLang="en-US" sz="1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64" name="直接箭头连接符 63"/>
            <p:cNvCxnSpPr/>
            <p:nvPr/>
          </p:nvCxnSpPr>
          <p:spPr>
            <a:xfrm flipV="1">
              <a:off x="5155225" y="3064386"/>
              <a:ext cx="1361237" cy="900934"/>
            </a:xfrm>
            <a:prstGeom prst="straightConnector1">
              <a:avLst/>
            </a:prstGeom>
            <a:noFill/>
            <a:ln w="25400" cap="flat" cmpd="sng" algn="ctr">
              <a:solidFill>
                <a:srgbClr val="336699">
                  <a:shade val="95000"/>
                  <a:satMod val="105000"/>
                </a:srgbClr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65" name="直接箭头连接符 64"/>
            <p:cNvCxnSpPr/>
            <p:nvPr/>
          </p:nvCxnSpPr>
          <p:spPr>
            <a:xfrm>
              <a:off x="5273099" y="4296964"/>
              <a:ext cx="1114297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336699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66" name="直接箭头连接符 65"/>
            <p:cNvCxnSpPr/>
            <p:nvPr/>
          </p:nvCxnSpPr>
          <p:spPr>
            <a:xfrm>
              <a:off x="5273099" y="4406656"/>
              <a:ext cx="1114297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336699">
                  <a:shade val="95000"/>
                  <a:satMod val="105000"/>
                </a:srgbClr>
              </a:solidFill>
              <a:prstDash val="solid"/>
              <a:headEnd type="triangle"/>
              <a:tailEnd type="none"/>
            </a:ln>
            <a:effectLst/>
          </p:spPr>
        </p:cxnSp>
        <p:sp>
          <p:nvSpPr>
            <p:cNvPr id="67" name="文本框 66"/>
            <p:cNvSpPr txBox="1"/>
            <p:nvPr/>
          </p:nvSpPr>
          <p:spPr>
            <a:xfrm>
              <a:off x="3493070" y="980728"/>
              <a:ext cx="903147" cy="474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b="1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验证</a:t>
              </a:r>
            </a:p>
          </p:txBody>
        </p:sp>
        <p:sp>
          <p:nvSpPr>
            <p:cNvPr id="68" name="文本框 67"/>
            <p:cNvSpPr txBox="1"/>
            <p:nvPr/>
          </p:nvSpPr>
          <p:spPr>
            <a:xfrm rot="19535983">
              <a:off x="4534253" y="3083494"/>
              <a:ext cx="2438244" cy="4559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交流</a:t>
              </a:r>
              <a:r>
                <a:rPr lang="en-US" altLang="zh-CN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&amp;</a:t>
              </a:r>
              <a:r>
                <a:rPr lang="zh-CN" altLang="en-US" sz="1200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反馈</a:t>
              </a: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6672064" y="3058374"/>
              <a:ext cx="903147" cy="528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78" fontAlgn="auto">
                <a:lnSpc>
                  <a:spcPts val="344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b="1" dirty="0">
                  <a:solidFill>
                    <a:srgbClr val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社区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12386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形 29">
            <a:extLst>
              <a:ext uri="{FF2B5EF4-FFF2-40B4-BE49-F238E27FC236}">
                <a16:creationId xmlns="" xmlns:a16="http://schemas.microsoft.com/office/drawing/2014/main" id="{C7E33B2B-6B5F-9912-09E5-DF36E6605C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7641" y="380087"/>
            <a:ext cx="847725" cy="42862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26048BB5-0341-EE61-4DBD-28D13C7002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12" b="15973"/>
          <a:stretch/>
        </p:blipFill>
        <p:spPr>
          <a:xfrm flipH="1">
            <a:off x="-1293102" y="184729"/>
            <a:ext cx="4673600" cy="1447675"/>
          </a:xfrm>
          <a:prstGeom prst="rect">
            <a:avLst/>
          </a:prstGeom>
        </p:spPr>
      </p:pic>
      <p:pic>
        <p:nvPicPr>
          <p:cNvPr id="21" name="图形 20">
            <a:extLst>
              <a:ext uri="{FF2B5EF4-FFF2-40B4-BE49-F238E27FC236}">
                <a16:creationId xmlns="" xmlns:a16="http://schemas.microsoft.com/office/drawing/2014/main" id="{B3B51AB7-926B-842E-B560-E8A502542D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4662" y="5114541"/>
            <a:ext cx="1409700" cy="1162050"/>
          </a:xfrm>
          <a:prstGeom prst="rect">
            <a:avLst/>
          </a:prstGeom>
        </p:spPr>
      </p:pic>
      <p:pic>
        <p:nvPicPr>
          <p:cNvPr id="24" name="图形 23">
            <a:extLst>
              <a:ext uri="{FF2B5EF4-FFF2-40B4-BE49-F238E27FC236}">
                <a16:creationId xmlns="" xmlns:a16="http://schemas.microsoft.com/office/drawing/2014/main" id="{5871E77B-5B6F-F7F0-3EE8-9F280440B1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74076" y="5743575"/>
            <a:ext cx="3590924" cy="1104900"/>
          </a:xfrm>
          <a:prstGeom prst="rect">
            <a:avLst/>
          </a:prstGeom>
        </p:spPr>
      </p:pic>
      <p:pic>
        <p:nvPicPr>
          <p:cNvPr id="28" name="图形 27">
            <a:extLst>
              <a:ext uri="{FF2B5EF4-FFF2-40B4-BE49-F238E27FC236}">
                <a16:creationId xmlns="" xmlns:a16="http://schemas.microsoft.com/office/drawing/2014/main" id="{54413E28-7A78-C4F8-D837-5800573DDB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63387" y="153162"/>
            <a:ext cx="180975" cy="180975"/>
          </a:xfrm>
          <a:prstGeom prst="rect">
            <a:avLst/>
          </a:prstGeom>
        </p:spPr>
      </p:pic>
      <p:pic>
        <p:nvPicPr>
          <p:cNvPr id="38" name="图形 37">
            <a:extLst>
              <a:ext uri="{FF2B5EF4-FFF2-40B4-BE49-F238E27FC236}">
                <a16:creationId xmlns="" xmlns:a16="http://schemas.microsoft.com/office/drawing/2014/main" id="{818D92AB-DC58-3D33-FB6B-062B707838A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19927" y="5734050"/>
            <a:ext cx="680085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657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EDBEDB5-8596-FA37-F2DC-D059A06E9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背景介绍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115905CF-203B-0EE5-237C-F6807128E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2880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179756" y="424200"/>
            <a:ext cx="7701491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zh-CN" altLang="en-US" sz="2600" b="1" dirty="0">
                <a:solidFill>
                  <a:srgbClr val="333F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背景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1888040" y="1369192"/>
            <a:ext cx="2663256" cy="528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43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终端场景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7070591" y="1397151"/>
            <a:ext cx="2663256" cy="528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43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云场景</a:t>
            </a:r>
          </a:p>
        </p:txBody>
      </p:sp>
      <p:sp>
        <p:nvSpPr>
          <p:cNvPr id="24" name="矩形 23"/>
          <p:cNvSpPr/>
          <p:nvPr/>
        </p:nvSpPr>
        <p:spPr>
          <a:xfrm>
            <a:off x="6782672" y="2017011"/>
            <a:ext cx="1439598" cy="670670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在线业务</a:t>
            </a:r>
          </a:p>
        </p:txBody>
      </p:sp>
      <p:sp>
        <p:nvSpPr>
          <p:cNvPr id="25" name="矩形 24"/>
          <p:cNvSpPr/>
          <p:nvPr/>
        </p:nvSpPr>
        <p:spPr>
          <a:xfrm>
            <a:off x="6782672" y="2904942"/>
            <a:ext cx="3232221" cy="1079698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调度器</a:t>
            </a:r>
          </a:p>
        </p:txBody>
      </p:sp>
      <p:cxnSp>
        <p:nvCxnSpPr>
          <p:cNvPr id="26" name="直接连接符 25"/>
          <p:cNvCxnSpPr/>
          <p:nvPr/>
        </p:nvCxnSpPr>
        <p:spPr>
          <a:xfrm>
            <a:off x="6566732" y="2776216"/>
            <a:ext cx="3598994" cy="0"/>
          </a:xfrm>
          <a:prstGeom prst="line">
            <a:avLst/>
          </a:prstGeom>
          <a:noFill/>
          <a:ln w="15875" cap="flat" cmpd="sng" algn="ctr">
            <a:solidFill>
              <a:srgbClr val="1D1D1A"/>
            </a:solidFill>
            <a:prstDash val="dash"/>
            <a:miter lim="800000"/>
          </a:ln>
          <a:effectLst/>
        </p:spPr>
      </p:cxnSp>
      <p:sp>
        <p:nvSpPr>
          <p:cNvPr id="27" name="矩形 26"/>
          <p:cNvSpPr/>
          <p:nvPr/>
        </p:nvSpPr>
        <p:spPr>
          <a:xfrm>
            <a:off x="1528141" y="1984254"/>
            <a:ext cx="935738" cy="670670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游戏场景</a:t>
            </a:r>
          </a:p>
        </p:txBody>
      </p:sp>
      <p:sp>
        <p:nvSpPr>
          <p:cNvPr id="28" name="矩形 27"/>
          <p:cNvSpPr/>
          <p:nvPr/>
        </p:nvSpPr>
        <p:spPr>
          <a:xfrm>
            <a:off x="1528141" y="2911426"/>
            <a:ext cx="3232221" cy="1079698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调度器</a:t>
            </a:r>
          </a:p>
        </p:txBody>
      </p:sp>
      <p:cxnSp>
        <p:nvCxnSpPr>
          <p:cNvPr id="29" name="直接连接符 28"/>
          <p:cNvCxnSpPr/>
          <p:nvPr/>
        </p:nvCxnSpPr>
        <p:spPr>
          <a:xfrm>
            <a:off x="1312201" y="2767466"/>
            <a:ext cx="3598994" cy="0"/>
          </a:xfrm>
          <a:prstGeom prst="line">
            <a:avLst/>
          </a:prstGeom>
          <a:noFill/>
          <a:ln w="15875" cap="flat" cmpd="sng" algn="ctr">
            <a:solidFill>
              <a:srgbClr val="1D1D1A"/>
            </a:solidFill>
            <a:prstDash val="dash"/>
            <a:miter lim="800000"/>
          </a:ln>
          <a:effectLst/>
        </p:spPr>
      </p:cxnSp>
      <p:sp>
        <p:nvSpPr>
          <p:cNvPr id="30" name="矩形 29"/>
          <p:cNvSpPr/>
          <p:nvPr/>
        </p:nvSpPr>
        <p:spPr>
          <a:xfrm>
            <a:off x="2676382" y="1984254"/>
            <a:ext cx="935738" cy="670670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视频场景</a:t>
            </a:r>
          </a:p>
        </p:txBody>
      </p:sp>
      <p:sp>
        <p:nvSpPr>
          <p:cNvPr id="31" name="矩形 30"/>
          <p:cNvSpPr/>
          <p:nvPr/>
        </p:nvSpPr>
        <p:spPr>
          <a:xfrm>
            <a:off x="3824624" y="1984254"/>
            <a:ext cx="935738" cy="670670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阅读场景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824922" y="4086044"/>
            <a:ext cx="4318793" cy="8101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2899"/>
              </a:lnSpc>
              <a:spcAft>
                <a:spcPts val="600"/>
              </a:spcAft>
            </a:pPr>
            <a:r>
              <a:rPr lang="zh-CN" altLang="en-US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诉求：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性能最优，功耗达标</a:t>
            </a:r>
            <a:endParaRPr lang="en-US" altLang="zh-CN" sz="1399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ts val="2099"/>
              </a:lnSpc>
            </a:pPr>
            <a:r>
              <a:rPr lang="zh-CN" altLang="en-US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       调度策略：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场景感知，按需选核，快速调频等</a:t>
            </a:r>
            <a:endParaRPr lang="en-US" altLang="zh-CN" sz="1399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5990893" y="4132386"/>
            <a:ext cx="4822652" cy="8358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2899"/>
              </a:lnSpc>
            </a:pPr>
            <a:r>
              <a:rPr lang="zh-CN" altLang="en-US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诉求：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提升</a:t>
            </a:r>
            <a:r>
              <a:rPr lang="en-US" altLang="zh-CN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PU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利用率，干扰隔离</a:t>
            </a:r>
            <a:endParaRPr lang="en-US" altLang="zh-CN" sz="1399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ts val="2899"/>
              </a:lnSpc>
            </a:pPr>
            <a:r>
              <a:rPr lang="zh-CN" altLang="en-US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调度策略：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层调度，干扰感知</a:t>
            </a:r>
            <a:r>
              <a:rPr lang="en-US" altLang="zh-CN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399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隔离</a:t>
            </a:r>
            <a:endParaRPr lang="en-US" altLang="zh-CN" sz="1399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8511556" y="2017011"/>
            <a:ext cx="1439598" cy="670670"/>
          </a:xfrm>
          <a:prstGeom prst="rect">
            <a:avLst/>
          </a:prstGeom>
          <a:noFill/>
          <a:ln w="1270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zh-CN" altLang="en-US" sz="1200" kern="0" dirty="0">
                <a:solidFill>
                  <a:srgbClr val="666666"/>
                </a:solidFill>
                <a:latin typeface="Calibri" panose="020F0502020204030204"/>
                <a:ea typeface="等线" panose="02010600030101010101" pitchFamily="2" charset="-122"/>
              </a:rPr>
              <a:t>离线业务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1220475" y="5432552"/>
            <a:ext cx="9244671" cy="78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界调度策略</a:t>
            </a:r>
            <a:r>
              <a:rPr lang="en-US" altLang="zh-CN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zh-CN" altLang="en-US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同性能需求，不同调度策略</a:t>
            </a:r>
            <a:r>
              <a:rPr lang="en-US" altLang="zh-CN" sz="13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ts val="26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功耗感知：</a:t>
            </a:r>
            <a:r>
              <a:rPr lang="en-US" altLang="zh-CN" sz="1200" b="1" dirty="0">
                <a:solidFill>
                  <a:srgbClr val="C7000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AS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； 降低响应时延：</a:t>
            </a:r>
            <a:r>
              <a:rPr lang="en-US" altLang="zh-CN" sz="1200" b="1" dirty="0" err="1">
                <a:solidFill>
                  <a:srgbClr val="C7000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uqss</a:t>
            </a:r>
            <a:r>
              <a:rPr lang="en-US" altLang="zh-CN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;   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资源隔离与共享：</a:t>
            </a:r>
            <a:r>
              <a:rPr lang="en-US" altLang="zh-CN" sz="1200" b="1" dirty="0" err="1">
                <a:solidFill>
                  <a:srgbClr val="C7000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aladan</a:t>
            </a:r>
            <a:r>
              <a:rPr lang="en-US" altLang="zh-CN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;   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提升吞吐：</a:t>
            </a:r>
            <a:r>
              <a:rPr lang="en-US" altLang="zh-CN" sz="1200" b="1" dirty="0" err="1">
                <a:solidFill>
                  <a:srgbClr val="C7000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hinjuku</a:t>
            </a:r>
            <a:r>
              <a:rPr lang="en-US" altLang="zh-CN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; </a:t>
            </a:r>
          </a:p>
        </p:txBody>
      </p:sp>
    </p:spTree>
    <p:extLst>
      <p:ext uri="{BB962C8B-B14F-4D97-AF65-F5344CB8AC3E}">
        <p14:creationId xmlns:p14="http://schemas.microsoft.com/office/powerpoint/2010/main" val="402524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15503" y="33995"/>
            <a:ext cx="10515600" cy="1325563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问题</a:t>
            </a:r>
          </a:p>
        </p:txBody>
      </p:sp>
      <p:sp>
        <p:nvSpPr>
          <p:cNvPr id="51" name="内容占位符 2"/>
          <p:cNvSpPr>
            <a:spLocks noGrp="1"/>
          </p:cNvSpPr>
          <p:nvPr>
            <p:ph idx="1"/>
          </p:nvPr>
        </p:nvSpPr>
        <p:spPr>
          <a:xfrm>
            <a:off x="6240016" y="1419149"/>
            <a:ext cx="5393959" cy="647461"/>
          </a:xfrm>
        </p:spPr>
        <p:txBody>
          <a:bodyPr/>
          <a:lstStyle/>
          <a:p>
            <a:r>
              <a:rPr lang="zh-CN" altLang="en-US" sz="1400" b="1" dirty="0"/>
              <a:t>“千人千面”，定制策略多，架构臃肿腐化，维护成本高</a:t>
            </a:r>
          </a:p>
        </p:txBody>
      </p:sp>
      <p:grpSp>
        <p:nvGrpSpPr>
          <p:cNvPr id="232" name="组合 231"/>
          <p:cNvGrpSpPr/>
          <p:nvPr/>
        </p:nvGrpSpPr>
        <p:grpSpPr>
          <a:xfrm>
            <a:off x="6324402" y="2291686"/>
            <a:ext cx="5346304" cy="3415835"/>
            <a:chOff x="6377598" y="1958606"/>
            <a:chExt cx="5346304" cy="3391750"/>
          </a:xfrm>
        </p:grpSpPr>
        <p:sp>
          <p:nvSpPr>
            <p:cNvPr id="35" name="矩形 34"/>
            <p:cNvSpPr/>
            <p:nvPr/>
          </p:nvSpPr>
          <p:spPr bwMode="auto">
            <a:xfrm>
              <a:off x="6452525" y="1958606"/>
              <a:ext cx="1137372" cy="101502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低时延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36" name="矩形 35"/>
            <p:cNvSpPr/>
            <p:nvPr/>
          </p:nvSpPr>
          <p:spPr bwMode="auto">
            <a:xfrm>
              <a:off x="7668327" y="1958606"/>
              <a:ext cx="1136884" cy="101502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流畅体验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37" name="矩形 36"/>
            <p:cNvSpPr/>
            <p:nvPr/>
          </p:nvSpPr>
          <p:spPr bwMode="auto">
            <a:xfrm>
              <a:off x="8898647" y="1958606"/>
              <a:ext cx="1136884" cy="101502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高资源利用率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38" name="矩形 37"/>
            <p:cNvSpPr/>
            <p:nvPr/>
          </p:nvSpPr>
          <p:spPr bwMode="auto">
            <a:xfrm>
              <a:off x="10109506" y="1958606"/>
              <a:ext cx="1136884" cy="1015029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极致小型化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39" name="矩形 38"/>
            <p:cNvSpPr/>
            <p:nvPr/>
          </p:nvSpPr>
          <p:spPr bwMode="auto">
            <a:xfrm>
              <a:off x="6452525" y="3648463"/>
              <a:ext cx="4793865" cy="1701893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200" b="0" i="0" u="none" strike="noStrike" cap="none" normalizeH="0" baseline="0" dirty="0">
                <a:ln>
                  <a:noFill/>
                </a:ln>
                <a:effectLst/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cxnSp>
          <p:nvCxnSpPr>
            <p:cNvPr id="41" name="直接连接符 40"/>
            <p:cNvCxnSpPr/>
            <p:nvPr/>
          </p:nvCxnSpPr>
          <p:spPr bwMode="auto">
            <a:xfrm>
              <a:off x="6377598" y="3265051"/>
              <a:ext cx="5225188" cy="0"/>
            </a:xfrm>
            <a:prstGeom prst="line">
              <a:avLst/>
            </a:pr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4" name="矩形 43"/>
            <p:cNvSpPr/>
            <p:nvPr/>
          </p:nvSpPr>
          <p:spPr bwMode="auto">
            <a:xfrm>
              <a:off x="6526499" y="3886571"/>
              <a:ext cx="928669" cy="43762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xx</a:t>
              </a:r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</a:t>
              </a:r>
            </a:p>
          </p:txBody>
        </p:sp>
        <p:sp>
          <p:nvSpPr>
            <p:cNvPr id="45" name="矩形 44"/>
            <p:cNvSpPr/>
            <p:nvPr/>
          </p:nvSpPr>
          <p:spPr bwMode="auto">
            <a:xfrm>
              <a:off x="7557029" y="3886571"/>
              <a:ext cx="928669" cy="43762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xx</a:t>
              </a:r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</a:t>
              </a:r>
            </a:p>
          </p:txBody>
        </p:sp>
        <p:sp>
          <p:nvSpPr>
            <p:cNvPr id="46" name="矩形 45"/>
            <p:cNvSpPr/>
            <p:nvPr/>
          </p:nvSpPr>
          <p:spPr bwMode="auto">
            <a:xfrm>
              <a:off x="8587559" y="3886571"/>
              <a:ext cx="928669" cy="43762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xx</a:t>
              </a:r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</a:t>
              </a:r>
            </a:p>
          </p:txBody>
        </p:sp>
        <p:sp>
          <p:nvSpPr>
            <p:cNvPr id="47" name="矩形 46"/>
            <p:cNvSpPr/>
            <p:nvPr/>
          </p:nvSpPr>
          <p:spPr bwMode="auto">
            <a:xfrm>
              <a:off x="9618088" y="3886571"/>
              <a:ext cx="928669" cy="43762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xx</a:t>
              </a:r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solidFill>
                    <a:srgbClr val="C0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策略</a:t>
              </a:r>
            </a:p>
          </p:txBody>
        </p:sp>
        <p:sp>
          <p:nvSpPr>
            <p:cNvPr id="50" name="矩形 49"/>
            <p:cNvSpPr/>
            <p:nvPr/>
          </p:nvSpPr>
          <p:spPr bwMode="auto">
            <a:xfrm>
              <a:off x="10648618" y="3886571"/>
              <a:ext cx="538314" cy="43762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11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1053401" y="2996952"/>
              <a:ext cx="477377" cy="407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ser</a:t>
              </a:r>
              <a:endParaRPr lang="zh-CN" alt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11053401" y="3238817"/>
              <a:ext cx="670501" cy="456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ernel</a:t>
              </a:r>
              <a:endParaRPr lang="zh-CN" alt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1" name="矩形 130"/>
            <p:cNvSpPr/>
            <p:nvPr/>
          </p:nvSpPr>
          <p:spPr bwMode="auto">
            <a:xfrm>
              <a:off x="8926734" y="4596181"/>
              <a:ext cx="950255" cy="554496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IO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矩形 131"/>
            <p:cNvSpPr/>
            <p:nvPr/>
          </p:nvSpPr>
          <p:spPr bwMode="auto">
            <a:xfrm>
              <a:off x="6607676" y="4596181"/>
              <a:ext cx="941420" cy="554496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调度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矩形 132"/>
            <p:cNvSpPr/>
            <p:nvPr/>
          </p:nvSpPr>
          <p:spPr bwMode="auto">
            <a:xfrm>
              <a:off x="7767205" y="4596181"/>
              <a:ext cx="941420" cy="554496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存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 bwMode="auto">
            <a:xfrm>
              <a:off x="10095099" y="4596181"/>
              <a:ext cx="950255" cy="554496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688"/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文件系统</a:t>
              </a:r>
            </a:p>
          </p:txBody>
        </p:sp>
      </p:grpSp>
      <p:sp>
        <p:nvSpPr>
          <p:cNvPr id="48" name="内容占位符 2"/>
          <p:cNvSpPr txBox="1">
            <a:spLocks/>
          </p:cNvSpPr>
          <p:nvPr/>
        </p:nvSpPr>
        <p:spPr bwMode="auto">
          <a:xfrm>
            <a:off x="479376" y="1340768"/>
            <a:ext cx="5393959" cy="64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771" tIns="51385" rIns="102771" bIns="51385" numCol="1" anchor="t" anchorCtr="0" compatLnSpc="1">
            <a:prstTxWarp prst="textNoShape">
              <a:avLst/>
            </a:prstTxWarp>
          </a:bodyPr>
          <a:lstStyle>
            <a:lvl1pPr marL="384709" indent="-384709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SzPct val="60000"/>
              <a:buFont typeface="Wingdings" pitchFamily="2" charset="2"/>
              <a:buChar char="l"/>
              <a:defRPr sz="2600" b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836588" indent="-3216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50000"/>
              <a:buFont typeface="Wingdings" pitchFamily="2" charset="2"/>
              <a:buChar char="Ø"/>
              <a:defRPr sz="20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defRPr>
            </a:lvl2pPr>
            <a:lvl3pPr marL="1286431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q"/>
              <a:defRPr sz="160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3pPr>
            <a:lvl4pPr marL="1797341" indent="-256472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2312319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FrutigerNext LT Medium" pitchFamily="34" charset="0"/>
              <a:buChar char="~"/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898541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FrutigerNext LT Medium" pitchFamily="34" charset="0"/>
              <a:buChar char="~"/>
              <a:defRPr sz="1500">
                <a:solidFill>
                  <a:schemeClr val="tx1"/>
                </a:solidFill>
                <a:latin typeface="+mj-lt"/>
                <a:ea typeface="+mn-ea"/>
              </a:defRPr>
            </a:lvl6pPr>
            <a:lvl7pPr marL="3484763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FrutigerNext LT Medium" pitchFamily="34" charset="0"/>
              <a:buChar char="~"/>
              <a:defRPr sz="1500">
                <a:solidFill>
                  <a:schemeClr val="tx1"/>
                </a:solidFill>
                <a:latin typeface="+mj-lt"/>
                <a:ea typeface="+mn-ea"/>
              </a:defRPr>
            </a:lvl7pPr>
            <a:lvl8pPr marL="4070985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FrutigerNext LT Medium" pitchFamily="34" charset="0"/>
              <a:buChar char="~"/>
              <a:defRPr sz="1500">
                <a:solidFill>
                  <a:schemeClr val="tx1"/>
                </a:solidFill>
                <a:latin typeface="+mj-lt"/>
                <a:ea typeface="+mn-ea"/>
              </a:defRPr>
            </a:lvl8pPr>
            <a:lvl9pPr marL="4657207" indent="-258508" algn="l" defTabSz="1027924" rtl="0" eaLnBrk="1" fontAlgn="base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FrutigerNext LT Medium" pitchFamily="34" charset="0"/>
              <a:buChar char="~"/>
              <a:defRPr sz="1500">
                <a:solidFill>
                  <a:schemeClr val="tx1"/>
                </a:solidFill>
                <a:latin typeface="+mj-lt"/>
                <a:ea typeface="+mn-ea"/>
              </a:defRPr>
            </a:lvl9pPr>
          </a:lstStyle>
          <a:p>
            <a:r>
              <a:rPr lang="zh-CN" altLang="en-US" sz="1400" b="1" kern="0" dirty="0"/>
              <a:t>抽象化，模块化导致信息丢失、协同困难，性能不佳</a:t>
            </a:r>
          </a:p>
        </p:txBody>
      </p:sp>
      <p:grpSp>
        <p:nvGrpSpPr>
          <p:cNvPr id="49" name="组合 48"/>
          <p:cNvGrpSpPr/>
          <p:nvPr/>
        </p:nvGrpSpPr>
        <p:grpSpPr>
          <a:xfrm>
            <a:off x="580637" y="2303253"/>
            <a:ext cx="5285574" cy="3388364"/>
            <a:chOff x="5843418" y="1473256"/>
            <a:chExt cx="5534742" cy="1589102"/>
          </a:xfrm>
        </p:grpSpPr>
        <p:sp>
          <p:nvSpPr>
            <p:cNvPr id="52" name="矩形 51"/>
            <p:cNvSpPr/>
            <p:nvPr/>
          </p:nvSpPr>
          <p:spPr bwMode="auto">
            <a:xfrm>
              <a:off x="5923760" y="1473256"/>
              <a:ext cx="1219573" cy="39226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低时延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3" name="矩形 52"/>
            <p:cNvSpPr/>
            <p:nvPr/>
          </p:nvSpPr>
          <p:spPr bwMode="auto">
            <a:xfrm>
              <a:off x="7227432" y="1473256"/>
              <a:ext cx="1219050" cy="39226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流畅体验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4" name="矩形 53"/>
            <p:cNvSpPr/>
            <p:nvPr/>
          </p:nvSpPr>
          <p:spPr bwMode="auto">
            <a:xfrm>
              <a:off x="8546671" y="1473256"/>
              <a:ext cx="1219050" cy="39226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 </a:t>
              </a: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高资源利用率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7" name="矩形 56"/>
            <p:cNvSpPr/>
            <p:nvPr/>
          </p:nvSpPr>
          <p:spPr bwMode="auto">
            <a:xfrm>
              <a:off x="9845043" y="1473256"/>
              <a:ext cx="1219050" cy="392266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138" tIns="39570" rIns="79138" bIns="3957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XX</a:t>
              </a:r>
              <a:r>
                <a:rPr lang="zh-CN" altLang="en-US" sz="10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场景</a:t>
              </a:r>
              <a:endParaRPr lang="en-US" altLang="zh-CN" sz="10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algn="ctr" defTabSz="801046" fontAlgn="base">
                <a:lnSpc>
                  <a:spcPts val="14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zh-CN" altLang="en-US" sz="9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极致小型化</a:t>
              </a:r>
              <a:endParaRPr lang="en-US" altLang="zh-CN" sz="9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8" name="矩形 57"/>
            <p:cNvSpPr/>
            <p:nvPr/>
          </p:nvSpPr>
          <p:spPr bwMode="auto">
            <a:xfrm>
              <a:off x="5923760" y="2492896"/>
              <a:ext cx="5140333" cy="56946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200" b="0" i="0" u="none" strike="noStrike" cap="none" normalizeH="0" baseline="0" dirty="0">
                <a:ln>
                  <a:noFill/>
                </a:ln>
                <a:effectLst/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cxnSp>
          <p:nvCxnSpPr>
            <p:cNvPr id="59" name="直接连接符 58"/>
            <p:cNvCxnSpPr/>
            <p:nvPr/>
          </p:nvCxnSpPr>
          <p:spPr bwMode="auto">
            <a:xfrm>
              <a:off x="5843418" y="2176611"/>
              <a:ext cx="5486097" cy="3865"/>
            </a:xfrm>
            <a:prstGeom prst="line">
              <a:avLst/>
            </a:pr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0" name="矩形 59"/>
            <p:cNvSpPr/>
            <p:nvPr/>
          </p:nvSpPr>
          <p:spPr bwMode="auto">
            <a:xfrm>
              <a:off x="8548081" y="2606931"/>
              <a:ext cx="1018933" cy="34139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0" i="0" u="none" strike="noStrike" cap="none" normalizeH="0" baseline="0" dirty="0">
                  <a:ln>
                    <a:noFill/>
                  </a:ln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IO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10754975" y="2052048"/>
              <a:ext cx="511879" cy="23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ser</a:t>
              </a:r>
              <a:endParaRPr lang="zh-CN" alt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10729161" y="2180476"/>
              <a:ext cx="648999" cy="23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ernel</a:t>
              </a:r>
              <a:endParaRPr lang="zh-CN" alt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3" name="矩形 62"/>
            <p:cNvSpPr/>
            <p:nvPr/>
          </p:nvSpPr>
          <p:spPr bwMode="auto">
            <a:xfrm>
              <a:off x="6061417" y="2606931"/>
              <a:ext cx="1009459" cy="34139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调度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矩形 63"/>
            <p:cNvSpPr/>
            <p:nvPr/>
          </p:nvSpPr>
          <p:spPr bwMode="auto">
            <a:xfrm>
              <a:off x="7304749" y="2606931"/>
              <a:ext cx="1009459" cy="34139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内存</a:t>
              </a:r>
              <a:endParaRPr kumimoji="0" lang="zh-CN" altLang="en-US" sz="11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矩形 64"/>
            <p:cNvSpPr/>
            <p:nvPr/>
          </p:nvSpPr>
          <p:spPr bwMode="auto">
            <a:xfrm>
              <a:off x="9800888" y="2606931"/>
              <a:ext cx="1018933" cy="341392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01688"/>
              <a:r>
                <a:rPr kumimoji="0" lang="zh-CN" altLang="en-US" sz="1100" b="0" i="0" u="none" strike="noStrike" cap="none" normalizeH="0" baseline="0" dirty="0">
                  <a:ln>
                    <a:noFill/>
                  </a:ln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文件系统</a:t>
              </a:r>
            </a:p>
          </p:txBody>
        </p:sp>
        <p:cxnSp>
          <p:nvCxnSpPr>
            <p:cNvPr id="66" name="直接连接符 65"/>
            <p:cNvCxnSpPr>
              <a:endCxn id="67" idx="0"/>
            </p:cNvCxnSpPr>
            <p:nvPr/>
          </p:nvCxnSpPr>
          <p:spPr bwMode="auto">
            <a:xfrm>
              <a:off x="6168008" y="1865522"/>
              <a:ext cx="2362628" cy="255194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67" name="矩形 66"/>
            <p:cNvSpPr/>
            <p:nvPr/>
          </p:nvSpPr>
          <p:spPr bwMode="auto">
            <a:xfrm>
              <a:off x="6566146" y="2120716"/>
              <a:ext cx="3928980" cy="138600"/>
            </a:xfrm>
            <a:prstGeom prst="rect">
              <a:avLst/>
            </a:prstGeom>
            <a:solidFill>
              <a:srgbClr val="CCEC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000" b="1" i="0" u="none" strike="noStrike" cap="none" normalizeH="0" baseline="0" dirty="0" err="1">
                  <a:ln>
                    <a:noFill/>
                  </a:ln>
                  <a:effectLst/>
                  <a:latin typeface="Times New Roman" panose="02020603050405020304" pitchFamily="18" charset="0"/>
                  <a:ea typeface="ＭＳ Ｐゴシック" pitchFamily="34" charset="-128"/>
                  <a:cs typeface="Times New Roman" panose="02020603050405020304" pitchFamily="18" charset="0"/>
                </a:rPr>
                <a:t>syscall</a:t>
              </a:r>
              <a:endParaRPr kumimoji="0" lang="zh-CN" altLang="en-US" sz="1000" b="1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ＭＳ Ｐゴシック" pitchFamily="34" charset="-128"/>
                <a:cs typeface="Times New Roman" panose="02020603050405020304" pitchFamily="18" charset="0"/>
              </a:endParaRPr>
            </a:p>
          </p:txBody>
        </p:sp>
        <p:cxnSp>
          <p:nvCxnSpPr>
            <p:cNvPr id="68" name="直接连接符 67"/>
            <p:cNvCxnSpPr>
              <a:stCxn id="53" idx="2"/>
              <a:endCxn id="67" idx="0"/>
            </p:cNvCxnSpPr>
            <p:nvPr/>
          </p:nvCxnSpPr>
          <p:spPr bwMode="auto">
            <a:xfrm>
              <a:off x="7836957" y="1865522"/>
              <a:ext cx="693679" cy="255194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9" name="直接连接符 68"/>
            <p:cNvCxnSpPr>
              <a:stCxn id="54" idx="2"/>
              <a:endCxn id="67" idx="0"/>
            </p:cNvCxnSpPr>
            <p:nvPr/>
          </p:nvCxnSpPr>
          <p:spPr bwMode="auto">
            <a:xfrm flipH="1">
              <a:off x="8530636" y="1865522"/>
              <a:ext cx="625560" cy="255194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70" name="直接连接符 69"/>
            <p:cNvCxnSpPr>
              <a:stCxn id="57" idx="2"/>
              <a:endCxn id="67" idx="0"/>
            </p:cNvCxnSpPr>
            <p:nvPr/>
          </p:nvCxnSpPr>
          <p:spPr bwMode="auto">
            <a:xfrm flipH="1">
              <a:off x="8530636" y="1865522"/>
              <a:ext cx="1923932" cy="255194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72" name="任意多边形 71"/>
            <p:cNvSpPr/>
            <p:nvPr/>
          </p:nvSpPr>
          <p:spPr bwMode="auto">
            <a:xfrm>
              <a:off x="6684264" y="2377426"/>
              <a:ext cx="2350008" cy="237758"/>
            </a:xfrm>
            <a:custGeom>
              <a:avLst/>
              <a:gdLst>
                <a:gd name="connsiteX0" fmla="*/ 2350008 w 2350008"/>
                <a:gd name="connsiteY0" fmla="*/ 228614 h 237758"/>
                <a:gd name="connsiteX1" fmla="*/ 1298448 w 2350008"/>
                <a:gd name="connsiteY1" fmla="*/ 14 h 237758"/>
                <a:gd name="connsiteX2" fmla="*/ 0 w 2350008"/>
                <a:gd name="connsiteY2" fmla="*/ 237758 h 237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0008" h="237758">
                  <a:moveTo>
                    <a:pt x="2350008" y="228614"/>
                  </a:moveTo>
                  <a:cubicBezTo>
                    <a:pt x="2020062" y="113552"/>
                    <a:pt x="1690116" y="-1510"/>
                    <a:pt x="1298448" y="14"/>
                  </a:cubicBezTo>
                  <a:cubicBezTo>
                    <a:pt x="906780" y="1538"/>
                    <a:pt x="453390" y="119648"/>
                    <a:pt x="0" y="237758"/>
                  </a:cubicBezTo>
                </a:path>
              </a:pathLst>
            </a:cu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801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7740489" y="2292776"/>
              <a:ext cx="33695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01688"/>
              <a:r>
                <a:rPr lang="en-US" altLang="zh-CN" sz="16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×</a:t>
              </a:r>
              <a:endParaRPr lang="zh-CN" altLang="en-US" sz="16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7972133" y="2323725"/>
              <a:ext cx="2472897" cy="214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5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化、协同困难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8002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414778" y="431960"/>
            <a:ext cx="7701491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zh-CN" altLang="en-US" sz="2600" b="1" dirty="0">
                <a:solidFill>
                  <a:srgbClr val="333F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问题与目标</a:t>
            </a:r>
          </a:p>
        </p:txBody>
      </p:sp>
      <p:sp>
        <p:nvSpPr>
          <p:cNvPr id="17" name="椭圆 16"/>
          <p:cNvSpPr/>
          <p:nvPr/>
        </p:nvSpPr>
        <p:spPr>
          <a:xfrm>
            <a:off x="5735440" y="3528143"/>
            <a:ext cx="5542451" cy="2840248"/>
          </a:xfrm>
          <a:prstGeom prst="ellipse">
            <a:avLst/>
          </a:prstGeom>
          <a:solidFill>
            <a:srgbClr val="FF0000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1200" kern="0">
              <a:solidFill>
                <a:srgbClr val="666666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696848" y="3561174"/>
            <a:ext cx="6296394" cy="2951175"/>
          </a:xfrm>
          <a:prstGeom prst="ellipse">
            <a:avLst/>
          </a:prstGeom>
          <a:solidFill>
            <a:srgbClr val="7030A0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1200" kern="0">
              <a:solidFill>
                <a:srgbClr val="666666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848526" y="4528069"/>
            <a:ext cx="1439598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维护困难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937714" y="4503601"/>
            <a:ext cx="1869706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验证</a:t>
            </a:r>
            <a:r>
              <a:rPr lang="en-US" altLang="zh-CN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部署困难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7822856" y="3949486"/>
            <a:ext cx="1439598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产品人员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6959098" y="4644659"/>
            <a:ext cx="3239095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策略共享困难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1344667" y="5038598"/>
            <a:ext cx="2303356" cy="681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2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定制化需求多， 分支多，</a:t>
            </a:r>
            <a:endParaRPr lang="en-US" altLang="zh-CN" sz="1200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 defTabSz="914112">
              <a:lnSpc>
                <a:spcPts val="22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无法</a:t>
            </a:r>
            <a:r>
              <a:rPr lang="en-US" altLang="zh-CN" sz="1200" dirty="0" err="1">
                <a:solidFill>
                  <a:srgbClr val="666666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rPr>
              <a:t>upstreaming</a:t>
            </a:r>
            <a:r>
              <a:rPr lang="en-US" altLang="zh-CN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, 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维护成本高；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3758650" y="5027716"/>
            <a:ext cx="1978561" cy="681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2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搭建环境成本高，验证</a:t>
            </a:r>
            <a:r>
              <a:rPr lang="en-US" altLang="zh-CN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部署周期长，</a:t>
            </a:r>
            <a:r>
              <a:rPr lang="en-US" altLang="zh-CN" sz="1200" dirty="0">
                <a:solidFill>
                  <a:srgbClr val="666666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rPr>
              <a:t>TTM</a:t>
            </a: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长；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7031078" y="5364458"/>
            <a:ext cx="3095135" cy="38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2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缺乏策略共享机制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3072184" y="3876676"/>
            <a:ext cx="1439598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开发人员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4871681" y="4829576"/>
            <a:ext cx="3095135" cy="38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299"/>
              </a:lnSpc>
            </a:pPr>
            <a:r>
              <a:rPr lang="zh-CN" altLang="en-US" sz="1200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重复开发</a:t>
            </a:r>
          </a:p>
        </p:txBody>
      </p:sp>
      <p:sp>
        <p:nvSpPr>
          <p:cNvPr id="42" name="椭圆 41"/>
          <p:cNvSpPr/>
          <p:nvPr/>
        </p:nvSpPr>
        <p:spPr>
          <a:xfrm>
            <a:off x="3935943" y="1349948"/>
            <a:ext cx="4717405" cy="2211227"/>
          </a:xfrm>
          <a:prstGeom prst="ellipse">
            <a:avLst/>
          </a:prstGeom>
          <a:solidFill>
            <a:srgbClr val="0070C0">
              <a:alpha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1200" kern="0">
              <a:solidFill>
                <a:srgbClr val="666666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5610836" y="1421591"/>
            <a:ext cx="1439598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架构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4819057" y="2007785"/>
            <a:ext cx="3239095" cy="438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699"/>
              </a:lnSpc>
            </a:pPr>
            <a:r>
              <a:rPr lang="zh-CN" altLang="en-US" sz="1599" b="1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态与内核态调度语义丢失</a:t>
            </a:r>
            <a:endParaRPr lang="en-US" altLang="zh-CN" sz="1599" b="1" dirty="0">
              <a:solidFill>
                <a:srgbClr val="6666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4891037" y="2629222"/>
            <a:ext cx="3095135" cy="38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>
              <a:lnSpc>
                <a:spcPts val="2299"/>
              </a:lnSpc>
            </a:pPr>
            <a:r>
              <a:rPr lang="zh-CN" altLang="en-US" sz="1200" dirty="0">
                <a:solidFill>
                  <a:srgbClr val="6666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调度采用通用机制，无法精准匹配业务模型</a:t>
            </a:r>
          </a:p>
        </p:txBody>
      </p:sp>
    </p:spTree>
    <p:extLst>
      <p:ext uri="{BB962C8B-B14F-4D97-AF65-F5344CB8AC3E}">
        <p14:creationId xmlns:p14="http://schemas.microsoft.com/office/powerpoint/2010/main" val="11426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2EDBEDB5-8596-FA37-F2DC-D059A06E9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界调研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115905CF-203B-0EE5-237C-F6807128EB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1995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 txBox="1">
            <a:spLocks/>
          </p:cNvSpPr>
          <p:nvPr/>
        </p:nvSpPr>
        <p:spPr>
          <a:xfrm>
            <a:off x="7906165" y="6399644"/>
            <a:ext cx="1409280" cy="11017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1D7575-6DEF-4929-985F-3A0436863908}" type="datetime1">
              <a:rPr lang="zh-CN" altLang="en-US" sz="1799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1/12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副标题 2"/>
          <p:cNvSpPr txBox="1">
            <a:spLocks/>
          </p:cNvSpPr>
          <p:nvPr/>
        </p:nvSpPr>
        <p:spPr>
          <a:xfrm>
            <a:off x="1287066" y="517043"/>
            <a:ext cx="11952241" cy="36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pPr defTabSz="914400" eaLnBrk="1" fontAlgn="auto" hangingPunct="1">
              <a:lnSpc>
                <a:spcPct val="90000"/>
              </a:lnSpc>
              <a:spcAft>
                <a:spcPts val="0"/>
              </a:spcAft>
            </a:pPr>
            <a:r>
              <a:rPr lang="zh-CN" altLang="en-US" sz="2600" dirty="0">
                <a:solidFill>
                  <a:srgbClr val="333F50"/>
                </a:solidFill>
                <a:cs typeface="+mj-cs"/>
              </a:rPr>
              <a:t>发展历程</a:t>
            </a:r>
          </a:p>
        </p:txBody>
      </p:sp>
      <p:cxnSp>
        <p:nvCxnSpPr>
          <p:cNvPr id="77" name="直接箭头连接符 76"/>
          <p:cNvCxnSpPr/>
          <p:nvPr/>
        </p:nvCxnSpPr>
        <p:spPr>
          <a:xfrm flipV="1">
            <a:off x="415475" y="2803481"/>
            <a:ext cx="11291662" cy="51704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/>
          <p:cNvCxnSpPr/>
          <p:nvPr/>
        </p:nvCxnSpPr>
        <p:spPr>
          <a:xfrm>
            <a:off x="1071798" y="2706535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/>
          <p:cNvSpPr txBox="1"/>
          <p:nvPr/>
        </p:nvSpPr>
        <p:spPr>
          <a:xfrm>
            <a:off x="656323" y="2976135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04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80" name="文本框 79"/>
          <p:cNvSpPr txBox="1"/>
          <p:nvPr/>
        </p:nvSpPr>
        <p:spPr>
          <a:xfrm>
            <a:off x="283774" y="3391490"/>
            <a:ext cx="1498945" cy="1015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Con 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Kolivas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 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交“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2"/>
              </a:rPr>
              <a:t>Pluggable 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2"/>
              </a:rPr>
              <a:t>cpu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2"/>
              </a:rPr>
              <a:t> scheduler framework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”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atch</a:t>
            </a: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endParaRPr lang="en-US" altLang="zh-CN" sz="1200" b="1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81" name="直接连接符 80"/>
          <p:cNvCxnSpPr/>
          <p:nvPr/>
        </p:nvCxnSpPr>
        <p:spPr>
          <a:xfrm>
            <a:off x="2694416" y="2706535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本框 81"/>
          <p:cNvSpPr txBox="1"/>
          <p:nvPr/>
        </p:nvSpPr>
        <p:spPr>
          <a:xfrm>
            <a:off x="2278941" y="2976135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09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1944566" y="3345323"/>
            <a:ext cx="1887791" cy="156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IEEE Student Conference on Research and Development 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发表 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《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3"/>
              </a:rPr>
              <a:t>Runtime CPU Scheduler Customization Framework for a flexible mobile operating system 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》</a:t>
            </a:r>
            <a:r>
              <a:rPr lang="zh-CN" altLang="en-US" sz="1200" dirty="0">
                <a:solidFill>
                  <a:srgbClr val="000000"/>
                </a:solidFill>
                <a:latin typeface="Arial"/>
                <a:ea typeface="黑体"/>
              </a:rPr>
              <a:t>论文</a:t>
            </a:r>
            <a:r>
              <a:rPr lang="en-US" altLang="zh-CN" sz="1200" dirty="0">
                <a:solidFill>
                  <a:srgbClr val="000000"/>
                </a:solidFill>
                <a:latin typeface="Arial"/>
                <a:ea typeface="黑体"/>
              </a:rPr>
              <a:t> </a:t>
            </a: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84" name="直接连接符 83"/>
          <p:cNvCxnSpPr/>
          <p:nvPr/>
        </p:nvCxnSpPr>
        <p:spPr>
          <a:xfrm>
            <a:off x="4785235" y="2706535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文本框 84"/>
          <p:cNvSpPr txBox="1"/>
          <p:nvPr/>
        </p:nvSpPr>
        <p:spPr>
          <a:xfrm>
            <a:off x="4369760" y="2976135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19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86" name="文本框 85"/>
          <p:cNvSpPr txBox="1"/>
          <p:nvPr/>
        </p:nvSpPr>
        <p:spPr>
          <a:xfrm>
            <a:off x="4035387" y="3345323"/>
            <a:ext cx="1832388" cy="1199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err="1">
                <a:solidFill>
                  <a:srgbClr val="000000"/>
                </a:solidFill>
                <a:latin typeface="Arial"/>
                <a:ea typeface="黑体"/>
              </a:rPr>
              <a:t>Aleix</a:t>
            </a:r>
            <a:r>
              <a:rPr lang="en-US" altLang="zh-CN" sz="1200" dirty="0">
                <a:solidFill>
                  <a:srgbClr val="000000"/>
                </a:solidFill>
                <a:latin typeface="Arial"/>
                <a:ea typeface="黑体"/>
              </a:rPr>
              <a:t> Roca </a:t>
            </a:r>
            <a:r>
              <a:rPr lang="en-US" altLang="zh-CN" sz="1200" dirty="0" err="1">
                <a:solidFill>
                  <a:srgbClr val="000000"/>
                </a:solidFill>
                <a:latin typeface="Arial"/>
                <a:ea typeface="黑体"/>
              </a:rPr>
              <a:t>Nonell</a:t>
            </a:r>
            <a:r>
              <a:rPr lang="en-US" altLang="zh-CN" sz="1200" dirty="0">
                <a:solidFill>
                  <a:srgbClr val="000000"/>
                </a:solidFill>
                <a:latin typeface="Arial"/>
                <a:ea typeface="黑体"/>
              </a:rPr>
              <a:t> 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发表 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《</a:t>
            </a:r>
            <a:r>
              <a:rPr lang="en-US" altLang="zh-CN" sz="1200" dirty="0">
                <a:solidFill>
                  <a:srgbClr val="000000"/>
                </a:solidFill>
                <a:latin typeface="Arial"/>
                <a:ea typeface="黑体"/>
                <a:hlinkClick r:id="rId4"/>
              </a:rPr>
              <a:t>A Linux Kernel Scheduler Extension For Multi-Core Systems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4"/>
              </a:rPr>
              <a:t> 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》</a:t>
            </a:r>
            <a:r>
              <a:rPr lang="zh-CN" altLang="en-US" sz="1200" dirty="0">
                <a:solidFill>
                  <a:srgbClr val="000000"/>
                </a:solidFill>
                <a:latin typeface="Arial"/>
                <a:ea typeface="黑体"/>
              </a:rPr>
              <a:t>论文</a:t>
            </a:r>
            <a:r>
              <a:rPr lang="en-US" altLang="zh-CN" sz="1200" dirty="0">
                <a:solidFill>
                  <a:srgbClr val="000000"/>
                </a:solidFill>
                <a:latin typeface="Arial"/>
                <a:ea typeface="黑体"/>
              </a:rPr>
              <a:t> </a:t>
            </a: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87" name="直接连接符 86"/>
          <p:cNvCxnSpPr/>
          <p:nvPr/>
        </p:nvCxnSpPr>
        <p:spPr>
          <a:xfrm>
            <a:off x="6828313" y="2706535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文本框 87"/>
          <p:cNvSpPr txBox="1"/>
          <p:nvPr/>
        </p:nvSpPr>
        <p:spPr>
          <a:xfrm>
            <a:off x="6468232" y="2976135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21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89" name="文本框 88"/>
          <p:cNvSpPr txBox="1"/>
          <p:nvPr/>
        </p:nvSpPr>
        <p:spPr>
          <a:xfrm>
            <a:off x="6133859" y="3345323"/>
            <a:ext cx="1728853" cy="830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SOSP 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论文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《</a:t>
            </a:r>
            <a:r>
              <a:rPr lang="en-US" altLang="zh-CN" sz="1200" dirty="0">
                <a:solidFill>
                  <a:srgbClr val="333333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5"/>
              </a:rPr>
              <a:t>ghOst: Fast &amp; Flexible User-Space Delegation of Linux Scheduling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》</a:t>
            </a: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90" name="直接连接符 89"/>
          <p:cNvCxnSpPr/>
          <p:nvPr/>
        </p:nvCxnSpPr>
        <p:spPr>
          <a:xfrm>
            <a:off x="8708968" y="2678838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文本框 90"/>
          <p:cNvSpPr txBox="1"/>
          <p:nvPr/>
        </p:nvSpPr>
        <p:spPr>
          <a:xfrm>
            <a:off x="8293493" y="2948438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21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7959120" y="3317626"/>
            <a:ext cx="1767748" cy="830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Peter Oskolkov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提交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《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6"/>
              </a:rPr>
              <a:t>User-managed concurrency 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6"/>
              </a:rPr>
              <a:t>groups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》patch</a:t>
            </a: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93" name="直接连接符 92"/>
          <p:cNvCxnSpPr/>
          <p:nvPr/>
        </p:nvCxnSpPr>
        <p:spPr>
          <a:xfrm>
            <a:off x="10553933" y="2678838"/>
            <a:ext cx="0" cy="1384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文本框 93"/>
          <p:cNvSpPr txBox="1"/>
          <p:nvPr/>
        </p:nvSpPr>
        <p:spPr>
          <a:xfrm>
            <a:off x="10138458" y="2948438"/>
            <a:ext cx="1135629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Arial"/>
                <a:ea typeface="黑体"/>
              </a:rPr>
              <a:t>2021</a:t>
            </a:r>
            <a:r>
              <a:rPr lang="zh-CN" altLang="en-US" dirty="0">
                <a:solidFill>
                  <a:srgbClr val="000000"/>
                </a:solidFill>
                <a:latin typeface="Arial"/>
                <a:ea typeface="黑体"/>
              </a:rPr>
              <a:t>年</a:t>
            </a:r>
          </a:p>
        </p:txBody>
      </p:sp>
      <p:sp>
        <p:nvSpPr>
          <p:cNvPr id="95" name="文本框 94"/>
          <p:cNvSpPr txBox="1"/>
          <p:nvPr/>
        </p:nvSpPr>
        <p:spPr>
          <a:xfrm>
            <a:off x="9813317" y="3317626"/>
            <a:ext cx="1767748" cy="830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Roman 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ushchin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提交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《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7"/>
              </a:rPr>
              <a:t>Controlling the CPU scheduler with 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  <a:hlinkClick r:id="rId7"/>
              </a:rPr>
              <a:t>BPF</a:t>
            </a:r>
            <a:r>
              <a:rPr lang="en-US" altLang="zh-CN" sz="12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》patch</a:t>
            </a:r>
            <a:endParaRPr lang="en-US" altLang="zh-CN" sz="12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5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1"/>
          <p:cNvSpPr txBox="1">
            <a:spLocks/>
          </p:cNvSpPr>
          <p:nvPr/>
        </p:nvSpPr>
        <p:spPr>
          <a:xfrm>
            <a:off x="7906165" y="6399644"/>
            <a:ext cx="1409280" cy="11017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1D7575-6DEF-4929-985F-3A0436863908}" type="datetime1">
              <a:rPr lang="zh-CN" altLang="en-US" sz="1799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2/11/12</a:t>
            </a:fld>
            <a:endParaRPr lang="zh-CN" altLang="en-US" sz="17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副标题 2"/>
          <p:cNvSpPr txBox="1">
            <a:spLocks/>
          </p:cNvSpPr>
          <p:nvPr/>
        </p:nvSpPr>
        <p:spPr>
          <a:xfrm>
            <a:off x="1355744" y="234166"/>
            <a:ext cx="11952241" cy="53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4217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60000"/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itchFamily="34" charset="-122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5pPr>
            <a:lvl6pPr marL="455285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6pPr>
            <a:lvl7pPr marL="91057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7pPr>
            <a:lvl8pPr marL="1365852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8pPr>
            <a:lvl9pPr marL="1821133" fontAlgn="base">
              <a:spcBef>
                <a:spcPct val="0"/>
              </a:spcBef>
              <a:spcAft>
                <a:spcPct val="0"/>
              </a:spcAft>
              <a:defRPr sz="3498" b="1">
                <a:solidFill>
                  <a:srgbClr val="990000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en-US" altLang="zh-CN" sz="2799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 ghOst scheduler Framework</a:t>
            </a:r>
            <a:endParaRPr lang="zh-CN" altLang="en-US" sz="2799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6890001" y="2365476"/>
            <a:ext cx="4431826" cy="243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lnSpc>
                <a:spcPts val="2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进程级可编程调度策略，不同进程间的调度策略之间互不影响；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112" fontAlgn="auto">
              <a:lnSpc>
                <a:spcPts val="2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内核态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hos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度类感知任务状态变化，并通知给用户态线程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由用户态线程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负责策略执行；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112" fontAlgn="auto">
              <a:lnSpc>
                <a:spcPts val="2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内核态感知任务状态变化后，将任务状态信息封装成自定义消息，通过自定义通信机制，通知给用户态线程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并将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释放给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，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gen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程获取自定义消息，并执行对应的调度策略；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 bwMode="auto">
          <a:xfrm>
            <a:off x="980962" y="1460294"/>
            <a:ext cx="4733436" cy="45702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399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APP</a:t>
            </a:r>
            <a:endParaRPr lang="zh-CN" altLang="en-US" sz="1399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9" name="矩形 48"/>
          <p:cNvSpPr/>
          <p:nvPr/>
        </p:nvSpPr>
        <p:spPr bwMode="auto">
          <a:xfrm>
            <a:off x="995998" y="2097274"/>
            <a:ext cx="4733436" cy="2608897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50" name="直接连接符 49"/>
          <p:cNvCxnSpPr/>
          <p:nvPr/>
        </p:nvCxnSpPr>
        <p:spPr bwMode="auto">
          <a:xfrm flipV="1">
            <a:off x="990483" y="2566298"/>
            <a:ext cx="4733436" cy="2"/>
          </a:xfrm>
          <a:prstGeom prst="line">
            <a:avLst/>
          </a:prstGeom>
          <a:solidFill>
            <a:srgbClr val="336699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文本框 50"/>
          <p:cNvSpPr txBox="1"/>
          <p:nvPr/>
        </p:nvSpPr>
        <p:spPr>
          <a:xfrm>
            <a:off x="1796804" y="2169036"/>
            <a:ext cx="3243222" cy="307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99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libagent.so/libbase.so/libghost.so</a:t>
            </a:r>
            <a:endParaRPr lang="zh-CN" altLang="en-US" sz="90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2" name="矩形 51"/>
          <p:cNvSpPr/>
          <p:nvPr/>
        </p:nvSpPr>
        <p:spPr bwMode="auto">
          <a:xfrm>
            <a:off x="998736" y="2566298"/>
            <a:ext cx="2117174" cy="685531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3" name="矩形 52"/>
          <p:cNvSpPr/>
          <p:nvPr/>
        </p:nvSpPr>
        <p:spPr bwMode="auto">
          <a:xfrm>
            <a:off x="3582834" y="2566934"/>
            <a:ext cx="2143840" cy="685531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4" name="矩形 53"/>
          <p:cNvSpPr/>
          <p:nvPr/>
        </p:nvSpPr>
        <p:spPr bwMode="auto">
          <a:xfrm>
            <a:off x="998736" y="2992210"/>
            <a:ext cx="2117174" cy="25962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StatusWord)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5" name="矩形 54"/>
          <p:cNvSpPr/>
          <p:nvPr/>
        </p:nvSpPr>
        <p:spPr bwMode="auto">
          <a:xfrm>
            <a:off x="3582834" y="2992846"/>
            <a:ext cx="2143839" cy="259620"/>
          </a:xfrm>
          <a:prstGeom prst="rect">
            <a:avLst/>
          </a:prstGeom>
          <a:solidFill>
            <a:srgbClr val="00B0F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Channel)</a:t>
            </a: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6" name="文本框 55"/>
          <p:cNvSpPr txBox="1"/>
          <p:nvPr/>
        </p:nvSpPr>
        <p:spPr>
          <a:xfrm>
            <a:off x="1490946" y="2580905"/>
            <a:ext cx="1176646" cy="430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host Agent</a:t>
            </a:r>
          </a:p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(friend  Enclave)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4062259" y="2570024"/>
            <a:ext cx="1173358" cy="430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host Scheduler</a:t>
            </a:r>
          </a:p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(CpuState)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2387583" y="3317138"/>
            <a:ext cx="1884666" cy="430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LocalEnclave</a:t>
            </a:r>
          </a:p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(CpuRep(</a:t>
            </a:r>
            <a:r>
              <a:rPr lang="en-US" altLang="zh-CN" sz="11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RunRequest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/agent))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995997" y="3798005"/>
            <a:ext cx="4736192" cy="25962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05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ghost_cpu_data *data_region)</a:t>
            </a:r>
            <a:endParaRPr lang="zh-CN" altLang="en-US" sz="105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995999" y="4200599"/>
            <a:ext cx="4727916" cy="505573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2383586" y="4189816"/>
            <a:ext cx="1884666" cy="261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host(</a:t>
            </a:r>
            <a:r>
              <a:rPr lang="en-US" altLang="zh-CN" sz="11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bl_ctl_fd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_)</a:t>
            </a:r>
          </a:p>
        </p:txBody>
      </p:sp>
      <p:sp>
        <p:nvSpPr>
          <p:cNvPr id="62" name="矩形 61"/>
          <p:cNvSpPr/>
          <p:nvPr/>
        </p:nvSpPr>
        <p:spPr bwMode="auto">
          <a:xfrm>
            <a:off x="999641" y="4437843"/>
            <a:ext cx="4718913" cy="25962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en-US" altLang="zh-CN" sz="11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atusWordTable</a:t>
            </a:r>
            <a:r>
              <a:rPr lang="en-US" altLang="zh-CN" sz="11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*</a:t>
            </a:r>
            <a:r>
              <a:rPr lang="en-US" altLang="zh-CN" sz="1100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bl_sw_table</a:t>
            </a:r>
            <a:r>
              <a:rPr lang="en-US" altLang="zh-CN" sz="1100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)</a:t>
            </a:r>
            <a:endParaRPr lang="zh-CN" altLang="en-US" sz="11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3" name="矩形 62"/>
          <p:cNvSpPr/>
          <p:nvPr/>
        </p:nvSpPr>
        <p:spPr bwMode="auto">
          <a:xfrm>
            <a:off x="995998" y="5123535"/>
            <a:ext cx="4733436" cy="1340081"/>
          </a:xfrm>
          <a:prstGeom prst="rect">
            <a:avLst/>
          </a:prstGeom>
          <a:solidFill>
            <a:srgbClr val="E5F1FE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900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202615" y="5220442"/>
            <a:ext cx="2352025" cy="307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99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struct</a:t>
            </a:r>
            <a:r>
              <a:rPr lang="en-US" altLang="zh-CN" sz="1399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 </a:t>
            </a:r>
            <a:r>
              <a:rPr lang="en-US" altLang="zh-CN" sz="1399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host_enclave</a:t>
            </a:r>
            <a:endParaRPr lang="zh-CN" altLang="en-US" sz="1399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65" name="矩形 64"/>
          <p:cNvSpPr/>
          <p:nvPr/>
        </p:nvSpPr>
        <p:spPr bwMode="auto">
          <a:xfrm>
            <a:off x="1001092" y="5678258"/>
            <a:ext cx="4716877" cy="25962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ruct</a:t>
            </a:r>
            <a:r>
              <a:rPr lang="en-US" altLang="zh-CN" sz="1399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host_status_word</a:t>
            </a:r>
            <a:endParaRPr lang="zh-CN" altLang="en-US" sz="1399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998735" y="5939344"/>
            <a:ext cx="4719234" cy="259620"/>
          </a:xfrm>
          <a:prstGeom prst="rect">
            <a:avLst/>
          </a:prstGeom>
          <a:solidFill>
            <a:srgbClr val="00B0F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ruct</a:t>
            </a:r>
            <a:r>
              <a:rPr lang="en-US" altLang="zh-CN" sz="1399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host_queue</a:t>
            </a:r>
            <a:endParaRPr lang="zh-CN" altLang="en-US" sz="1399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1005262" y="6203996"/>
            <a:ext cx="4722646" cy="25962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struct</a:t>
            </a:r>
            <a:r>
              <a:rPr lang="en-US" altLang="zh-CN" sz="1399" kern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399" kern="0" dirty="0" err="1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ghost_txn</a:t>
            </a:r>
            <a:endParaRPr lang="zh-CN" altLang="en-US" sz="1399" kern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68" name="肘形连接符 67"/>
          <p:cNvCxnSpPr>
            <a:stCxn id="63" idx="1"/>
            <a:endCxn id="62" idx="1"/>
          </p:cNvCxnSpPr>
          <p:nvPr/>
        </p:nvCxnSpPr>
        <p:spPr bwMode="auto">
          <a:xfrm rot="10800000" flipH="1">
            <a:off x="995996" y="4567655"/>
            <a:ext cx="3644" cy="1225922"/>
          </a:xfrm>
          <a:prstGeom prst="bentConnector3">
            <a:avLst>
              <a:gd name="adj1" fmla="val -6271605"/>
            </a:avLst>
          </a:prstGeom>
          <a:solidFill>
            <a:srgbClr val="33669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肘形连接符 68"/>
          <p:cNvCxnSpPr>
            <a:stCxn id="59" idx="1"/>
            <a:endCxn id="67" idx="1"/>
          </p:cNvCxnSpPr>
          <p:nvPr/>
        </p:nvCxnSpPr>
        <p:spPr bwMode="auto">
          <a:xfrm rot="10800000" flipH="1" flipV="1">
            <a:off x="995997" y="3927814"/>
            <a:ext cx="9264" cy="2405991"/>
          </a:xfrm>
          <a:prstGeom prst="bentConnector3">
            <a:avLst>
              <a:gd name="adj1" fmla="val -5379435"/>
            </a:avLst>
          </a:prstGeom>
          <a:solidFill>
            <a:srgbClr val="33669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0" name="肘形连接符 69"/>
          <p:cNvCxnSpPr>
            <a:stCxn id="66" idx="3"/>
            <a:endCxn id="55" idx="3"/>
          </p:cNvCxnSpPr>
          <p:nvPr/>
        </p:nvCxnSpPr>
        <p:spPr bwMode="auto">
          <a:xfrm flipV="1">
            <a:off x="5717968" y="3122657"/>
            <a:ext cx="8705" cy="2946498"/>
          </a:xfrm>
          <a:prstGeom prst="bentConnector3">
            <a:avLst>
              <a:gd name="adj1" fmla="val 2725172"/>
            </a:avLst>
          </a:prstGeom>
          <a:solidFill>
            <a:srgbClr val="33669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1" name="下箭头 70"/>
          <p:cNvSpPr/>
          <p:nvPr/>
        </p:nvSpPr>
        <p:spPr bwMode="auto">
          <a:xfrm>
            <a:off x="3276956" y="4706172"/>
            <a:ext cx="141459" cy="417363"/>
          </a:xfrm>
          <a:prstGeom prst="down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ctr" anchorCtr="0" compatLnSpc="1">
            <a:prstTxWarp prst="textNoShape">
              <a:avLst/>
            </a:prstTxWarp>
          </a:bodyPr>
          <a:lstStyle/>
          <a:p>
            <a:pPr algn="ctr" defTabSz="801367" fontAlgn="auto">
              <a:spcBef>
                <a:spcPts val="0"/>
              </a:spcBef>
              <a:spcAft>
                <a:spcPts val="0"/>
              </a:spcAft>
            </a:pPr>
            <a:endParaRPr lang="zh-CN" altLang="en-US" sz="9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2" name="文本框 71"/>
          <p:cNvSpPr txBox="1"/>
          <p:nvPr/>
        </p:nvSpPr>
        <p:spPr>
          <a:xfrm>
            <a:off x="3342377" y="4698319"/>
            <a:ext cx="1100684" cy="261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syscall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467188" y="4673762"/>
            <a:ext cx="1100684" cy="261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Create </a:t>
            </a:r>
            <a:r>
              <a:rPr lang="en-US" altLang="zh-CN" sz="11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mmap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74" name="文本框 73"/>
          <p:cNvSpPr txBox="1"/>
          <p:nvPr/>
        </p:nvSpPr>
        <p:spPr>
          <a:xfrm>
            <a:off x="255060" y="3992807"/>
            <a:ext cx="1100684" cy="261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err="1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mmap</a:t>
            </a:r>
            <a:endParaRPr lang="zh-CN" altLang="en-US" sz="11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6022870" y="2964788"/>
            <a:ext cx="233663" cy="327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GHOST</a:t>
            </a: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-</a:t>
            </a: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CREATE_</a:t>
            </a: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QUEUE_</a:t>
            </a:r>
          </a:p>
          <a:p>
            <a:pPr defTabSz="914112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srgbClr val="000000"/>
                </a:solidFill>
                <a:latin typeface="Times New Roman" panose="02020603050405020304" pitchFamily="18" charset="0"/>
                <a:ea typeface="黑体"/>
                <a:cs typeface="Times New Roman" panose="02020603050405020304" pitchFamily="18" charset="0"/>
              </a:rPr>
              <a:t>RING</a:t>
            </a:r>
            <a:endParaRPr lang="zh-CN" altLang="en-US" sz="900" dirty="0">
              <a:solidFill>
                <a:srgbClr val="000000"/>
              </a:solidFill>
              <a:latin typeface="Times New Roman" panose="02020603050405020304" pitchFamily="18" charset="0"/>
              <a:ea typeface="黑体"/>
              <a:cs typeface="Times New Roman" panose="02020603050405020304" pitchFamily="18" charset="0"/>
            </a:endParaRPr>
          </a:p>
        </p:txBody>
      </p:sp>
      <p:cxnSp>
        <p:nvCxnSpPr>
          <p:cNvPr id="76" name="直接连接符 75"/>
          <p:cNvCxnSpPr/>
          <p:nvPr/>
        </p:nvCxnSpPr>
        <p:spPr>
          <a:xfrm>
            <a:off x="316792" y="4980225"/>
            <a:ext cx="6550169" cy="0"/>
          </a:xfrm>
          <a:prstGeom prst="lin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61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1">
                <a:lumMod val="75000"/>
              </a:schemeClr>
            </a:gs>
            <a:gs pos="50000">
              <a:schemeClr val="accent1">
                <a:lumMod val="60000"/>
                <a:lumOff val="40000"/>
              </a:schemeClr>
            </a:gs>
            <a:gs pos="100000">
              <a:srgbClr val="F0F4FA"/>
            </a:gs>
            <a:gs pos="79000">
              <a:schemeClr val="accent1">
                <a:lumMod val="20000"/>
                <a:lumOff val="80000"/>
              </a:schemeClr>
            </a:gs>
          </a:gsLst>
          <a:lin ang="1200000" scaled="0"/>
          <a:tileRect/>
        </a:gradFill>
        <a:ln>
          <a:noFill/>
        </a:ln>
      </a:spPr>
      <a:bodyPr rtlCol="0" anchor="ctr"/>
      <a:lstStyle>
        <a:defPPr algn="ctr">
          <a:defRPr sz="5800" dirty="0">
            <a:latin typeface="思源黑体 CN Bold" panose="020B0800000000000000" pitchFamily="34" charset="-122"/>
            <a:ea typeface="思源黑体 CN Bold" panose="020B0800000000000000" pitchFamily="34" charset="-122"/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92</TotalTime>
  <Words>1729</Words>
  <Application>Microsoft Office PowerPoint</Application>
  <PresentationFormat>宽屏</PresentationFormat>
  <Paragraphs>372</Paragraphs>
  <Slides>22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44" baseType="lpstr">
      <vt:lpstr>FrutigerNext LT BlackCn</vt:lpstr>
      <vt:lpstr>FrutigerNext LT Regular</vt:lpstr>
      <vt:lpstr>MS PGothic</vt:lpstr>
      <vt:lpstr>MS PGothic</vt:lpstr>
      <vt:lpstr>Source Han Sans CN Bold</vt:lpstr>
      <vt:lpstr>Source Han Sans CN Heavy</vt:lpstr>
      <vt:lpstr>Source Han Sans CN Regular</vt:lpstr>
      <vt:lpstr>YouSheBiaoTiYuan</vt:lpstr>
      <vt:lpstr>等线</vt:lpstr>
      <vt:lpstr>等线 Light</vt:lpstr>
      <vt:lpstr>黑体</vt:lpstr>
      <vt:lpstr>思源宋体 CN Heavy</vt:lpstr>
      <vt:lpstr>宋体</vt:lpstr>
      <vt:lpstr>微软雅黑</vt:lpstr>
      <vt:lpstr>微软雅黑</vt:lpstr>
      <vt:lpstr>Arial</vt:lpstr>
      <vt:lpstr>Calibri</vt:lpstr>
      <vt:lpstr>Times New Roman</vt:lpstr>
      <vt:lpstr>Wingdings</vt:lpstr>
      <vt:lpstr>Office 主题​​</vt:lpstr>
      <vt:lpstr>自定义设计方案</vt:lpstr>
      <vt:lpstr>think-cell Slide</vt:lpstr>
      <vt:lpstr>可编程调度框架交流研讨</vt:lpstr>
      <vt:lpstr>目录</vt:lpstr>
      <vt:lpstr>背景介绍</vt:lpstr>
      <vt:lpstr>PowerPoint 演示文稿</vt:lpstr>
      <vt:lpstr>技术问题</vt:lpstr>
      <vt:lpstr>PowerPoint 演示文稿</vt:lpstr>
      <vt:lpstr>业界调研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技术方案</vt:lpstr>
      <vt:lpstr>可编程调度框架</vt:lpstr>
      <vt:lpstr>技术点</vt:lpstr>
      <vt:lpstr>标签机制</vt:lpstr>
      <vt:lpstr>选核机制</vt:lpstr>
      <vt:lpstr>选任务机制</vt:lpstr>
      <vt:lpstr>未来展望</vt:lpstr>
      <vt:lpstr>PowerPoint 演示文稿</vt:lpstr>
      <vt:lpstr>生态建设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1011</dc:creator>
  <cp:lastModifiedBy>Chenhui (Judy)</cp:lastModifiedBy>
  <cp:revision>51</cp:revision>
  <dcterms:created xsi:type="dcterms:W3CDTF">2022-09-01T00:51:00Z</dcterms:created>
  <dcterms:modified xsi:type="dcterms:W3CDTF">2022-11-12T07:0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21</vt:lpwstr>
  </property>
</Properties>
</file>